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5"/>
  </p:notesMasterIdLst>
  <p:sldIdLst>
    <p:sldId id="2141411030" r:id="rId2"/>
    <p:sldId id="2141411029" r:id="rId3"/>
    <p:sldId id="2141411024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7"/>
    <p:restoredTop sz="96327"/>
  </p:normalViewPr>
  <p:slideViewPr>
    <p:cSldViewPr snapToGrid="0">
      <p:cViewPr varScale="1">
        <p:scale>
          <a:sx n="128" d="100"/>
          <a:sy n="128" d="100"/>
        </p:scale>
        <p:origin x="17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3C7F27-EBFF-CE46-A531-A6890BF1A70A}" type="datetimeFigureOut">
              <a:rPr lang="en-US" smtClean="0"/>
              <a:t>10/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0E7BA-840E-FF48-A326-C06D143A49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2071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507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E1050E-C908-F049-BA09-6A7AED1C27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1507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66611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507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E1050E-C908-F049-BA09-6A7AED1C27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1507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1175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5075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E1050E-C908-F049-BA09-6A7AED1C27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15075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474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8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8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0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0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0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9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3.png"/><Relationship Id="rId4" Type="http://schemas.openxmlformats.org/officeDocument/2006/relationships/image" Target="../media/image9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3.png"/><Relationship Id="rId4" Type="http://schemas.openxmlformats.org/officeDocument/2006/relationships/image" Target="../media/image9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3.png"/><Relationship Id="rId4" Type="http://schemas.openxmlformats.org/officeDocument/2006/relationships/image" Target="../media/image9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5" Type="http://schemas.openxmlformats.org/officeDocument/2006/relationships/image" Target="../media/image3.png"/><Relationship Id="rId4" Type="http://schemas.openxmlformats.org/officeDocument/2006/relationships/image" Target="../media/image9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16.png"/><Relationship Id="rId4" Type="http://schemas.openxmlformats.org/officeDocument/2006/relationships/image" Target="../media/image9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Intro Slide -ALWAYS 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431873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41" y="2316913"/>
            <a:ext cx="9597785" cy="17130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6184" b="1" i="0" spc="-91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4040234"/>
            <a:ext cx="8296006" cy="474590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2183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CEA9EA5-8BAD-6F4D-B8F1-BDF49DAC0F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5267"/>
            <a:ext cx="1244575" cy="297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0023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431873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41" y="2316913"/>
            <a:ext cx="9597785" cy="17130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6184" b="1" i="0" spc="-91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4040234"/>
            <a:ext cx="8296006" cy="55403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183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CEA9EA5-8BAD-6F4D-B8F1-BDF49DAC0F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5267"/>
            <a:ext cx="1244575" cy="297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0670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431873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41" y="2316913"/>
            <a:ext cx="9597785" cy="17130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6184" b="1" i="0" spc="-91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4040234"/>
            <a:ext cx="8296006" cy="55403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183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3CA00C-6D96-AA93-19EE-7B2086CBD7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8251"/>
            <a:ext cx="1244575" cy="29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6858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Celeste">
    <p:bg>
      <p:bgPr>
        <a:solidFill>
          <a:srgbClr val="D4D3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431873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41" y="2316913"/>
            <a:ext cx="9597785" cy="17130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6184" b="1" i="0" spc="-91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4040234"/>
            <a:ext cx="8296006" cy="55403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183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3CA00C-6D96-AA93-19EE-7B2086CBD7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8251"/>
            <a:ext cx="1244575" cy="29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19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lack slide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908602"/>
            <a:ext cx="479938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3290053"/>
            <a:ext cx="4799386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21144E7-ED24-E880-7543-33EDF9C2C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24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908602"/>
            <a:ext cx="479938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3290053"/>
            <a:ext cx="4799386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823E5BD-FA09-5FA4-EC5E-6FC3EB1DD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5466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Black slide with image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5">
            <a:extLst>
              <a:ext uri="{FF2B5EF4-FFF2-40B4-BE49-F238E27FC236}">
                <a16:creationId xmlns:a16="http://schemas.microsoft.com/office/drawing/2014/main" id="{60ACDD23-8625-9CA5-6D02-4E025BC3CA8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908602"/>
            <a:ext cx="479938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3290053"/>
            <a:ext cx="4799386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1F2AA65-D2F6-4E36-CCD5-6AF1D4E54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3950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Black slide with image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395186"/>
            <a:ext cx="479938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896528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2011818"/>
            <a:ext cx="4799386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19A3E0E3-CC09-CEC0-C4EE-47463A2FBF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31" y="3038183"/>
            <a:ext cx="2408085" cy="2543347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7" name="Picture Placeholder 15">
            <a:extLst>
              <a:ext uri="{FF2B5EF4-FFF2-40B4-BE49-F238E27FC236}">
                <a16:creationId xmlns:a16="http://schemas.microsoft.com/office/drawing/2014/main" id="{81281B5A-9066-F72B-E545-C7C2D01BC8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01085" y="2741846"/>
            <a:ext cx="2936455" cy="3073167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8" name="Picture Placeholder 15">
            <a:extLst>
              <a:ext uri="{FF2B5EF4-FFF2-40B4-BE49-F238E27FC236}">
                <a16:creationId xmlns:a16="http://schemas.microsoft.com/office/drawing/2014/main" id="{635A3FF4-F381-93D1-BDD4-DC59DF25EFA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766259" y="3038183"/>
            <a:ext cx="2753462" cy="2543347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9" name="Picture Placeholder 15">
            <a:extLst>
              <a:ext uri="{FF2B5EF4-FFF2-40B4-BE49-F238E27FC236}">
                <a16:creationId xmlns:a16="http://schemas.microsoft.com/office/drawing/2014/main" id="{DA0F729D-6F55-A629-72D1-AB09BC022FC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295727" y="3331163"/>
            <a:ext cx="1592033" cy="2028184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606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0" name="Picture Placeholder 15">
            <a:extLst>
              <a:ext uri="{FF2B5EF4-FFF2-40B4-BE49-F238E27FC236}">
                <a16:creationId xmlns:a16="http://schemas.microsoft.com/office/drawing/2014/main" id="{5065B48E-E710-7A45-FBCC-C1E9C13549A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796815" y="2538435"/>
            <a:ext cx="1970202" cy="3550615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0F79BA0-E80B-F694-B7D6-D2CD2F82D2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289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6B419CB6-EECA-AE65-C7AF-856E22B846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908602"/>
            <a:ext cx="479938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3290053"/>
            <a:ext cx="4799386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9F892FF-7FEF-E7EA-8B9A-5538C6847A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7950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 with image and icon st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15">
            <a:extLst>
              <a:ext uri="{FF2B5EF4-FFF2-40B4-BE49-F238E27FC236}">
                <a16:creationId xmlns:a16="http://schemas.microsoft.com/office/drawing/2014/main" id="{4B535028-2384-DE99-4A05-80505F7D86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B9AE8AD-43AA-BB4E-93A7-C6314EBCC2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342330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B9AE8AD-43AA-BB4E-93A7-C6314EBCC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551638"/>
            <a:ext cx="479938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545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0E96B9C5-1CD1-5548-A890-CE54E32C5C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85363" y="2709783"/>
            <a:ext cx="3956515" cy="19018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0" i="0" spc="-6" baseline="0">
                <a:solidFill>
                  <a:srgbClr val="171717">
                    <a:alpha val="49832"/>
                  </a:srgb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44EF8392-7711-E74B-80EA-AC954F13802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485363" y="2466384"/>
            <a:ext cx="3956515" cy="258780"/>
          </a:xfrm>
          <a:noFill/>
        </p:spPr>
        <p:txBody>
          <a:bodyPr wrap="square" lIns="0" tIns="0" rIns="0" bIns="72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1" i="0" spc="-6" baseline="0">
                <a:solidFill>
                  <a:srgbClr val="171717">
                    <a:alpha val="90117"/>
                  </a:srgb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here to add subheading</a:t>
            </a:r>
            <a:endParaRPr lang="en-US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9E41606C-D92A-1C46-A594-AA631B6981B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485363" y="3675391"/>
            <a:ext cx="3956515" cy="19018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0" i="0" spc="-6" baseline="0">
                <a:solidFill>
                  <a:srgbClr val="171717">
                    <a:alpha val="49832"/>
                  </a:srgb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A3963DE3-B914-EE48-8094-360DA6FEBD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485363" y="3431992"/>
            <a:ext cx="3956515" cy="258780"/>
          </a:xfrm>
          <a:noFill/>
        </p:spPr>
        <p:txBody>
          <a:bodyPr wrap="square" lIns="0" tIns="0" rIns="0" bIns="72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1" i="0" spc="-6" baseline="0">
                <a:solidFill>
                  <a:srgbClr val="171717">
                    <a:alpha val="90117"/>
                  </a:srgb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here to add subheading</a:t>
            </a:r>
            <a:endParaRPr lang="en-US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A7479F34-999D-2B4C-A8E0-352C5313713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485363" y="4625814"/>
            <a:ext cx="3956515" cy="19018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0" i="0" spc="-6" baseline="0">
                <a:solidFill>
                  <a:srgbClr val="171717">
                    <a:alpha val="49832"/>
                  </a:srgb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8F83C2F-B38B-2046-A075-52006EDC810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85363" y="4382416"/>
            <a:ext cx="3956515" cy="258780"/>
          </a:xfrm>
          <a:noFill/>
        </p:spPr>
        <p:txBody>
          <a:bodyPr wrap="square" lIns="0" tIns="0" rIns="0" bIns="72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1" i="0" spc="-6" baseline="0">
                <a:solidFill>
                  <a:srgbClr val="171717">
                    <a:alpha val="90117"/>
                  </a:srgb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here to add subheading</a:t>
            </a:r>
            <a:endParaRPr lang="en-US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6BD890D0-F2D0-BD47-9FF7-97419C0C1A1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485363" y="5594808"/>
            <a:ext cx="3956515" cy="19018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0" i="0" spc="-6" baseline="0">
                <a:solidFill>
                  <a:srgbClr val="171717">
                    <a:alpha val="49832"/>
                  </a:srgb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288A95F2-B951-CD43-98F5-D9A5CE9DCEF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485363" y="5350762"/>
            <a:ext cx="3956515" cy="258780"/>
          </a:xfrm>
          <a:noFill/>
        </p:spPr>
        <p:txBody>
          <a:bodyPr wrap="square" lIns="0" tIns="0" rIns="0" bIns="72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1" i="0" spc="-6" baseline="0">
                <a:solidFill>
                  <a:srgbClr val="171717">
                    <a:alpha val="90117"/>
                  </a:srgb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here to add subheading</a:t>
            </a:r>
            <a:endParaRPr lang="en-US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5E0AF0A6-D009-FB14-763E-2BB400C992D6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37834" y="2471669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9346DC2D-A83B-1753-1F69-5C9CE3A0742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37834" y="3429000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90285D6-E184-0E45-B820-86BE4CA2E3A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37834" y="4382416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BC92CCBA-3A18-78A1-B495-C29375EDD73A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37834" y="5350762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B5B0A60-FAA2-CD1D-AE56-69446B6189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0453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slide with image and icon st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80E07E78-98BA-4168-83B6-2D8DC5B447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B9AE8AD-43AA-BB4E-93A7-C6314EBCC2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342330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B9AE8AD-43AA-BB4E-93A7-C6314EBCC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551638"/>
            <a:ext cx="479938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545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0E96B9C5-1CD1-5548-A890-CE54E32C5C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85363" y="2709783"/>
            <a:ext cx="3956515" cy="19018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0" i="0" spc="-6" baseline="0">
                <a:solidFill>
                  <a:schemeClr val="bg1">
                    <a:alpha val="49832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44EF8392-7711-E74B-80EA-AC954F13802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485363" y="2466384"/>
            <a:ext cx="3956515" cy="260511"/>
          </a:xfrm>
          <a:noFill/>
        </p:spPr>
        <p:txBody>
          <a:bodyPr wrap="square" lIns="0" tIns="0" rIns="0" bIns="72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213" b="1" i="0" spc="-6" baseline="0">
                <a:solidFill>
                  <a:schemeClr val="bg1">
                    <a:alpha val="90117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here to add subheading</a:t>
            </a:r>
            <a:endParaRPr lang="en-US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9E41606C-D92A-1C46-A594-AA631B6981B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485363" y="3675391"/>
            <a:ext cx="3956515" cy="19018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0" i="0" spc="-6" baseline="0">
                <a:solidFill>
                  <a:schemeClr val="bg1">
                    <a:alpha val="49832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A3963DE3-B914-EE48-8094-360DA6FEBD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485363" y="3431992"/>
            <a:ext cx="3956515" cy="260511"/>
          </a:xfrm>
          <a:noFill/>
        </p:spPr>
        <p:txBody>
          <a:bodyPr wrap="square" lIns="0" tIns="0" rIns="0" bIns="72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213" b="1" i="0" spc="-6" baseline="0">
                <a:solidFill>
                  <a:schemeClr val="bg1">
                    <a:alpha val="90117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here to add subheading</a:t>
            </a:r>
            <a:endParaRPr lang="en-US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A7479F34-999D-2B4C-A8E0-352C5313713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485363" y="4625814"/>
            <a:ext cx="3956515" cy="19018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0" i="0" spc="-6" baseline="0">
                <a:solidFill>
                  <a:schemeClr val="bg1">
                    <a:alpha val="49832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8F83C2F-B38B-2046-A075-52006EDC810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85363" y="4382416"/>
            <a:ext cx="3956515" cy="260511"/>
          </a:xfrm>
          <a:noFill/>
        </p:spPr>
        <p:txBody>
          <a:bodyPr wrap="square" lIns="0" tIns="0" rIns="0" bIns="72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213" b="1" i="0" spc="-6" baseline="0">
                <a:solidFill>
                  <a:schemeClr val="bg1">
                    <a:alpha val="90117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here to add subheading</a:t>
            </a:r>
            <a:endParaRPr lang="en-US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6BD890D0-F2D0-BD47-9FF7-97419C0C1A1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485363" y="5594808"/>
            <a:ext cx="3956515" cy="19018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0" i="0" spc="-6" baseline="0">
                <a:solidFill>
                  <a:schemeClr val="bg1">
                    <a:alpha val="49832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288A95F2-B951-CD43-98F5-D9A5CE9DCEF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485363" y="5350762"/>
            <a:ext cx="3956515" cy="260511"/>
          </a:xfrm>
          <a:noFill/>
        </p:spPr>
        <p:txBody>
          <a:bodyPr wrap="square" lIns="0" tIns="0" rIns="0" bIns="72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213" b="1" i="0" spc="-6" baseline="0">
                <a:solidFill>
                  <a:schemeClr val="bg1">
                    <a:alpha val="90117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here to add subheading</a:t>
            </a:r>
            <a:endParaRPr lang="en-US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5E0AF0A6-D009-FB14-763E-2BB400C992D6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37834" y="2471669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9346DC2D-A83B-1753-1F69-5C9CE3A0742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37834" y="3429000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90285D6-E184-0E45-B820-86BE4CA2E3A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37834" y="4382416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BC92CCBA-3A18-78A1-B495-C29375EDD73A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37834" y="5350762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35412ED-737A-9B59-3C94-E98D5B9650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2892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 with numbered list - 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412978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41" y="1588933"/>
            <a:ext cx="4534108" cy="20151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850" b="1" i="0" spc="-91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0790" y="1588932"/>
            <a:ext cx="5193844" cy="223932"/>
          </a:xfrm>
        </p:spPr>
        <p:txBody>
          <a:bodyPr wrap="square" lIns="0" tIns="0" rIns="0" bIns="0">
            <a:spAutoFit/>
          </a:bodyPr>
          <a:lstStyle>
            <a:lvl1pPr marL="311850" indent="-311850">
              <a:lnSpc>
                <a:spcPct val="100000"/>
              </a:lnSpc>
              <a:buClr>
                <a:schemeClr val="bg2"/>
              </a:buClr>
              <a:buFont typeface="+mj-lt"/>
              <a:buAutoNum type="arabicPeriod"/>
              <a:defRPr sz="1455" b="0" i="0" u="none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CEA9EA5-8BAD-6F4D-B8F1-BDF49DAC0F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5267"/>
            <a:ext cx="1244575" cy="297759"/>
          </a:xfrm>
          <a:prstGeom prst="rect">
            <a:avLst/>
          </a:prstGeom>
        </p:spPr>
      </p:pic>
      <p:sp>
        <p:nvSpPr>
          <p:cNvPr id="2" name="object 14">
            <a:extLst>
              <a:ext uri="{FF2B5EF4-FFF2-40B4-BE49-F238E27FC236}">
                <a16:creationId xmlns:a16="http://schemas.microsoft.com/office/drawing/2014/main" id="{BD97842C-7547-8A5C-324F-EB296A7617F8}"/>
              </a:ext>
            </a:extLst>
          </p:cNvPr>
          <p:cNvSpPr/>
          <p:nvPr userDrawn="1"/>
        </p:nvSpPr>
        <p:spPr>
          <a:xfrm rot="10800000" flipH="1">
            <a:off x="5746678" y="1626138"/>
            <a:ext cx="28603" cy="3723884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25400">
            <a:solidFill>
              <a:srgbClr val="00D7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4DD5075-7A6D-AF8A-CA7C-E944FA074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724" y="6314726"/>
            <a:ext cx="584423" cy="205121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892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lide with image and icon 2 st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BD0E231F-3D73-E4AF-9EAC-25727F19AF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B9AE8AD-43AA-BB4E-93A7-C6314EBCC2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83334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B9AE8AD-43AA-BB4E-93A7-C6314EBCC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16F3305-B52E-5F4B-93CB-B716BB405026}"/>
              </a:ext>
            </a:extLst>
          </p:cNvPr>
          <p:cNvCxnSpPr/>
          <p:nvPr userDrawn="1"/>
        </p:nvCxnSpPr>
        <p:spPr>
          <a:xfrm>
            <a:off x="634950" y="3306165"/>
            <a:ext cx="2269229" cy="0"/>
          </a:xfrm>
          <a:prstGeom prst="line">
            <a:avLst/>
          </a:prstGeom>
          <a:ln w="127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BDC5791-2D35-C141-BF29-1BD5EE6295F9}"/>
              </a:ext>
            </a:extLst>
          </p:cNvPr>
          <p:cNvCxnSpPr/>
          <p:nvPr userDrawn="1"/>
        </p:nvCxnSpPr>
        <p:spPr>
          <a:xfrm>
            <a:off x="3170561" y="3306165"/>
            <a:ext cx="2269229" cy="0"/>
          </a:xfrm>
          <a:prstGeom prst="line">
            <a:avLst/>
          </a:prstGeom>
          <a:ln w="127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94D5434-BD96-A446-A19F-3D7C89E87938}"/>
              </a:ext>
            </a:extLst>
          </p:cNvPr>
          <p:cNvCxnSpPr/>
          <p:nvPr userDrawn="1"/>
        </p:nvCxnSpPr>
        <p:spPr>
          <a:xfrm>
            <a:off x="634950" y="4859381"/>
            <a:ext cx="2269229" cy="0"/>
          </a:xfrm>
          <a:prstGeom prst="line">
            <a:avLst/>
          </a:prstGeom>
          <a:ln w="127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1AD7AB3-2CCA-9542-B467-ABCAE259EF95}"/>
              </a:ext>
            </a:extLst>
          </p:cNvPr>
          <p:cNvCxnSpPr/>
          <p:nvPr userDrawn="1"/>
        </p:nvCxnSpPr>
        <p:spPr>
          <a:xfrm>
            <a:off x="3170561" y="4859381"/>
            <a:ext cx="2269229" cy="0"/>
          </a:xfrm>
          <a:prstGeom prst="line">
            <a:avLst/>
          </a:prstGeom>
          <a:ln w="127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5EE9A24-94F6-0678-6562-00184B4AEB16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45148" y="2028449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2D39D818-7A71-60D7-9A50-AA840FE43D15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170918" y="2028449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DEDC5BE-D023-F1F5-6EB1-790C61D162DE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634951" y="3546759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BE81166E-992D-6952-FEE4-9945B352D0B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3170918" y="3546759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43906060-436C-EE9F-BAD0-68ED504F44E1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34951" y="5119010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FC0380E2-44CD-C72C-D872-A987ECF7F666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170918" y="5119010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5523CDBE-8662-F8FA-0E1F-3F4525ECA06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773153" y="1998899"/>
            <a:ext cx="1684843" cy="277049"/>
          </a:xfrm>
        </p:spPr>
        <p:txBody>
          <a:bodyPr wrap="square"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213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56" name="Text Placeholder 12">
            <a:extLst>
              <a:ext uri="{FF2B5EF4-FFF2-40B4-BE49-F238E27FC236}">
                <a16:creationId xmlns:a16="http://schemas.microsoft.com/office/drawing/2014/main" id="{B7BEE88A-C20A-4F4C-2EC6-664F5E2E43E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773152" y="2254539"/>
            <a:ext cx="1666638" cy="808876"/>
          </a:xfrm>
        </p:spPr>
        <p:txBody>
          <a:bodyPr wrap="square" lIns="0" tIns="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Segoe Pro" panose="020B0502040504020203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 1</a:t>
            </a:r>
          </a:p>
          <a:p>
            <a:pPr lvl="0"/>
            <a:r>
              <a:rPr lang="en-GB"/>
              <a:t>Bullet point 2</a:t>
            </a:r>
          </a:p>
          <a:p>
            <a:pPr lvl="0"/>
            <a:r>
              <a:rPr lang="en-GB"/>
              <a:t>Bullet point 3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B8F0DCE5-F7A9-D79C-73DE-7CFB7B925CB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233597" y="1998899"/>
            <a:ext cx="1684843" cy="277049"/>
          </a:xfrm>
        </p:spPr>
        <p:txBody>
          <a:bodyPr wrap="square"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213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60" name="Text Placeholder 12">
            <a:extLst>
              <a:ext uri="{FF2B5EF4-FFF2-40B4-BE49-F238E27FC236}">
                <a16:creationId xmlns:a16="http://schemas.microsoft.com/office/drawing/2014/main" id="{5B79ED3B-7436-5A54-0961-153607A9389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233597" y="2254539"/>
            <a:ext cx="1666638" cy="808876"/>
          </a:xfrm>
        </p:spPr>
        <p:txBody>
          <a:bodyPr wrap="square" lIns="0" tIns="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Segoe Pro" panose="020B0502040504020203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 1</a:t>
            </a:r>
          </a:p>
          <a:p>
            <a:pPr lvl="0"/>
            <a:r>
              <a:rPr lang="en-GB"/>
              <a:t>Bullet point 2</a:t>
            </a:r>
          </a:p>
          <a:p>
            <a:pPr lvl="0"/>
            <a:r>
              <a:rPr lang="en-GB"/>
              <a:t>Bullet point 3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E129CDD-95CC-2A45-CD41-1C93CB35A98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773153" y="3506908"/>
            <a:ext cx="1684843" cy="277049"/>
          </a:xfrm>
        </p:spPr>
        <p:txBody>
          <a:bodyPr wrap="square"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213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62" name="Text Placeholder 12">
            <a:extLst>
              <a:ext uri="{FF2B5EF4-FFF2-40B4-BE49-F238E27FC236}">
                <a16:creationId xmlns:a16="http://schemas.microsoft.com/office/drawing/2014/main" id="{3DBD5180-2E10-0609-9CCF-A884C8E0D0F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773152" y="3762548"/>
            <a:ext cx="1666638" cy="808876"/>
          </a:xfrm>
        </p:spPr>
        <p:txBody>
          <a:bodyPr wrap="square" lIns="0" tIns="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Segoe Pro" panose="020B0502040504020203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 1</a:t>
            </a:r>
          </a:p>
          <a:p>
            <a:pPr lvl="0"/>
            <a:r>
              <a:rPr lang="en-GB"/>
              <a:t>Bullet point 2</a:t>
            </a:r>
          </a:p>
          <a:p>
            <a:pPr lvl="0"/>
            <a:r>
              <a:rPr lang="en-GB"/>
              <a:t>Bullet point 3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D26A429B-6B44-D189-1651-C411E9C3CF0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233597" y="3506908"/>
            <a:ext cx="1684843" cy="277049"/>
          </a:xfrm>
        </p:spPr>
        <p:txBody>
          <a:bodyPr wrap="square"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213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64" name="Text Placeholder 12">
            <a:extLst>
              <a:ext uri="{FF2B5EF4-FFF2-40B4-BE49-F238E27FC236}">
                <a16:creationId xmlns:a16="http://schemas.microsoft.com/office/drawing/2014/main" id="{10B8BBF5-C008-4915-87C0-B6355D0D731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233597" y="3762548"/>
            <a:ext cx="1666638" cy="808876"/>
          </a:xfrm>
        </p:spPr>
        <p:txBody>
          <a:bodyPr wrap="square" lIns="0" tIns="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Segoe Pro" panose="020B0502040504020203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 1</a:t>
            </a:r>
          </a:p>
          <a:p>
            <a:pPr lvl="0"/>
            <a:r>
              <a:rPr lang="en-GB"/>
              <a:t>Bullet point 2</a:t>
            </a:r>
          </a:p>
          <a:p>
            <a:pPr lvl="0"/>
            <a:r>
              <a:rPr lang="en-GB"/>
              <a:t>Bullet point 3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D41C5B07-13A4-F96C-100D-73EE7048AC7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773153" y="5092535"/>
            <a:ext cx="1684843" cy="277049"/>
          </a:xfrm>
        </p:spPr>
        <p:txBody>
          <a:bodyPr wrap="square"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213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66" name="Text Placeholder 12">
            <a:extLst>
              <a:ext uri="{FF2B5EF4-FFF2-40B4-BE49-F238E27FC236}">
                <a16:creationId xmlns:a16="http://schemas.microsoft.com/office/drawing/2014/main" id="{8C10FEB0-C145-9161-C157-1C948531333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773152" y="5348175"/>
            <a:ext cx="1666638" cy="808876"/>
          </a:xfrm>
        </p:spPr>
        <p:txBody>
          <a:bodyPr wrap="square" lIns="0" tIns="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Segoe Pro" panose="020B0502040504020203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 1</a:t>
            </a:r>
          </a:p>
          <a:p>
            <a:pPr lvl="0"/>
            <a:r>
              <a:rPr lang="en-GB"/>
              <a:t>Bullet point 2</a:t>
            </a:r>
          </a:p>
          <a:p>
            <a:pPr lvl="0"/>
            <a:r>
              <a:rPr lang="en-GB"/>
              <a:t>Bullet point 3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AF711AAA-109F-4977-9F79-6B5C3237346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233597" y="5092535"/>
            <a:ext cx="1684843" cy="277049"/>
          </a:xfrm>
        </p:spPr>
        <p:txBody>
          <a:bodyPr wrap="square"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213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add subhead</a:t>
            </a:r>
          </a:p>
        </p:txBody>
      </p:sp>
      <p:sp>
        <p:nvSpPr>
          <p:cNvPr id="68" name="Text Placeholder 12">
            <a:extLst>
              <a:ext uri="{FF2B5EF4-FFF2-40B4-BE49-F238E27FC236}">
                <a16:creationId xmlns:a16="http://schemas.microsoft.com/office/drawing/2014/main" id="{3D1192D7-0D5E-8482-C658-03ED01FA991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1233597" y="5348175"/>
            <a:ext cx="1666638" cy="808876"/>
          </a:xfrm>
        </p:spPr>
        <p:txBody>
          <a:bodyPr wrap="square" lIns="0" tIns="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Segoe Pro" panose="020B0502040504020203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 1</a:t>
            </a:r>
          </a:p>
          <a:p>
            <a:pPr lvl="0"/>
            <a:r>
              <a:rPr lang="en-GB"/>
              <a:t>Bullet point 2</a:t>
            </a:r>
          </a:p>
          <a:p>
            <a:pPr lvl="0"/>
            <a:r>
              <a:rPr lang="en-GB"/>
              <a:t>Bullet point 3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EEF85CC-ADD7-F16D-4608-301E29AD64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5465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slide with image and icon 2 st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ABD9EFFB-8AAE-3788-8A0D-9F07A39012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B9AE8AD-43AA-BB4E-93A7-C6314EBCC2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83334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B9AE8AD-43AA-BB4E-93A7-C6314EBCC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0E96B9C5-1CD1-5548-A890-CE54E32C5C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27147" y="2291889"/>
            <a:ext cx="1506519" cy="97543"/>
          </a:xfrm>
          <a:noFill/>
        </p:spPr>
        <p:txBody>
          <a:bodyPr wrap="square" lIns="0" tIns="0" rIns="0" bIns="0">
            <a:spAutoFit/>
          </a:bodyPr>
          <a:lstStyle>
            <a:lvl1pPr marL="109725" indent="-109725">
              <a:lnSpc>
                <a:spcPts val="740"/>
              </a:lnSpc>
              <a:buSzPct val="120000"/>
              <a:buFont typeface="Arial" panose="020B0604020202020204" pitchFamily="34" charset="0"/>
              <a:buChar char="•"/>
              <a:tabLst/>
              <a:defRPr sz="970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</a:t>
            </a:r>
            <a:endParaRPr lang="en-US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44EF8392-7711-E74B-80EA-AC954F13802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27250" y="1998246"/>
            <a:ext cx="1506519" cy="331483"/>
          </a:xfrm>
          <a:noFill/>
        </p:spPr>
        <p:txBody>
          <a:bodyPr wrap="square" lIns="0" tIns="0" rIns="0" bIns="144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1" i="0" spc="-6" baseline="0">
                <a:solidFill>
                  <a:schemeClr val="bg1">
                    <a:alpha val="90117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Add subheading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16F3305-B52E-5F4B-93CB-B716BB405026}"/>
              </a:ext>
            </a:extLst>
          </p:cNvPr>
          <p:cNvCxnSpPr/>
          <p:nvPr userDrawn="1"/>
        </p:nvCxnSpPr>
        <p:spPr>
          <a:xfrm>
            <a:off x="634950" y="2978217"/>
            <a:ext cx="2269229" cy="0"/>
          </a:xfrm>
          <a:prstGeom prst="line">
            <a:avLst/>
          </a:prstGeom>
          <a:ln w="127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BDC5791-2D35-C141-BF29-1BD5EE6295F9}"/>
              </a:ext>
            </a:extLst>
          </p:cNvPr>
          <p:cNvCxnSpPr/>
          <p:nvPr userDrawn="1"/>
        </p:nvCxnSpPr>
        <p:spPr>
          <a:xfrm>
            <a:off x="3170561" y="2978217"/>
            <a:ext cx="2269229" cy="0"/>
          </a:xfrm>
          <a:prstGeom prst="line">
            <a:avLst/>
          </a:prstGeom>
          <a:ln w="127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94D5434-BD96-A446-A19F-3D7C89E87938}"/>
              </a:ext>
            </a:extLst>
          </p:cNvPr>
          <p:cNvCxnSpPr/>
          <p:nvPr userDrawn="1"/>
        </p:nvCxnSpPr>
        <p:spPr>
          <a:xfrm>
            <a:off x="634950" y="4182157"/>
            <a:ext cx="2269229" cy="0"/>
          </a:xfrm>
          <a:prstGeom prst="line">
            <a:avLst/>
          </a:prstGeom>
          <a:ln w="127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1AD7AB3-2CCA-9542-B467-ABCAE259EF95}"/>
              </a:ext>
            </a:extLst>
          </p:cNvPr>
          <p:cNvCxnSpPr/>
          <p:nvPr userDrawn="1"/>
        </p:nvCxnSpPr>
        <p:spPr>
          <a:xfrm>
            <a:off x="3170561" y="4182157"/>
            <a:ext cx="2269229" cy="0"/>
          </a:xfrm>
          <a:prstGeom prst="line">
            <a:avLst/>
          </a:prstGeom>
          <a:ln w="127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5613B30C-A7F0-2946-9829-781E7F0C07D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64532" y="2291889"/>
            <a:ext cx="1506519" cy="9754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740"/>
              </a:lnSpc>
              <a:buSzPct val="120000"/>
              <a:buFont typeface="Arial" panose="020B0604020202020204" pitchFamily="34" charset="0"/>
              <a:buNone/>
              <a:tabLst/>
              <a:defRPr sz="970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</a:t>
            </a:r>
            <a:endParaRPr lang="en-US"/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B03D8F15-3F8E-0845-B869-40BB931403A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64636" y="1998246"/>
            <a:ext cx="1506519" cy="331483"/>
          </a:xfrm>
          <a:noFill/>
        </p:spPr>
        <p:txBody>
          <a:bodyPr wrap="square" lIns="0" tIns="0" rIns="0" bIns="144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1" i="0" spc="-6" baseline="0">
                <a:solidFill>
                  <a:schemeClr val="bg1">
                    <a:alpha val="90117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Add subheading</a:t>
            </a:r>
            <a:endParaRPr lang="en-US"/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D94E131-CE3C-024E-A810-8C369C15FC7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227147" y="3503166"/>
            <a:ext cx="1506519" cy="97543"/>
          </a:xfrm>
          <a:noFill/>
        </p:spPr>
        <p:txBody>
          <a:bodyPr wrap="square" lIns="0" tIns="0" rIns="0" bIns="0">
            <a:spAutoFit/>
          </a:bodyPr>
          <a:lstStyle>
            <a:lvl1pPr marL="109725" indent="-109725">
              <a:lnSpc>
                <a:spcPts val="740"/>
              </a:lnSpc>
              <a:buSzPct val="120000"/>
              <a:buFont typeface="Arial" panose="020B0604020202020204" pitchFamily="34" charset="0"/>
              <a:buChar char="•"/>
              <a:tabLst/>
              <a:defRPr sz="970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</a:t>
            </a:r>
            <a:endParaRPr lang="en-US"/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B0EA6AE8-2731-2342-9744-F47CAC1B14F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227250" y="3209522"/>
            <a:ext cx="1506519" cy="331483"/>
          </a:xfrm>
          <a:noFill/>
        </p:spPr>
        <p:txBody>
          <a:bodyPr wrap="square" lIns="0" tIns="0" rIns="0" bIns="144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1" i="0" spc="-6" baseline="0">
                <a:solidFill>
                  <a:schemeClr val="bg1">
                    <a:alpha val="90117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Add subheading</a:t>
            </a:r>
            <a:endParaRPr lang="en-US"/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60507A1A-8BAE-8043-AEAD-77FFB09C932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764532" y="3503166"/>
            <a:ext cx="1506519" cy="97543"/>
          </a:xfrm>
          <a:noFill/>
        </p:spPr>
        <p:txBody>
          <a:bodyPr wrap="square" lIns="0" tIns="0" rIns="0" bIns="0">
            <a:spAutoFit/>
          </a:bodyPr>
          <a:lstStyle>
            <a:lvl1pPr marL="109725" indent="-109725">
              <a:lnSpc>
                <a:spcPts val="740"/>
              </a:lnSpc>
              <a:buSzPct val="120000"/>
              <a:buFont typeface="Arial" panose="020B0604020202020204" pitchFamily="34" charset="0"/>
              <a:buChar char="•"/>
              <a:tabLst/>
              <a:defRPr sz="970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</a:t>
            </a:r>
            <a:endParaRPr lang="en-US"/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1C2ED007-D228-3D46-B36F-815096418C7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764636" y="3209522"/>
            <a:ext cx="1506519" cy="331483"/>
          </a:xfrm>
          <a:noFill/>
        </p:spPr>
        <p:txBody>
          <a:bodyPr wrap="square" lIns="0" tIns="0" rIns="0" bIns="144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1" i="0" spc="-6" baseline="0">
                <a:solidFill>
                  <a:schemeClr val="bg1">
                    <a:alpha val="90117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Add subheading</a:t>
            </a:r>
            <a:endParaRPr lang="en-US"/>
          </a:p>
        </p:txBody>
      </p:sp>
      <p:sp>
        <p:nvSpPr>
          <p:cNvPr id="46" name="Text Placeholder 12">
            <a:extLst>
              <a:ext uri="{FF2B5EF4-FFF2-40B4-BE49-F238E27FC236}">
                <a16:creationId xmlns:a16="http://schemas.microsoft.com/office/drawing/2014/main" id="{CA89F919-91AE-B44A-B09E-1AD31E62164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227147" y="4708416"/>
            <a:ext cx="1506519" cy="97543"/>
          </a:xfrm>
          <a:noFill/>
        </p:spPr>
        <p:txBody>
          <a:bodyPr wrap="square" lIns="0" tIns="0" rIns="0" bIns="0">
            <a:spAutoFit/>
          </a:bodyPr>
          <a:lstStyle>
            <a:lvl1pPr marL="109725" indent="-109725">
              <a:lnSpc>
                <a:spcPts val="740"/>
              </a:lnSpc>
              <a:buSzPct val="120000"/>
              <a:buFont typeface="Arial" panose="020B0604020202020204" pitchFamily="34" charset="0"/>
              <a:buChar char="•"/>
              <a:tabLst/>
              <a:defRPr sz="970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</a:t>
            </a:r>
            <a:endParaRPr lang="en-US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6691247C-1F05-7649-BCEB-19A06CCB28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227250" y="4414773"/>
            <a:ext cx="1506519" cy="331483"/>
          </a:xfrm>
          <a:noFill/>
        </p:spPr>
        <p:txBody>
          <a:bodyPr wrap="square" lIns="0" tIns="0" rIns="0" bIns="144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1" i="0" spc="-6" baseline="0">
                <a:solidFill>
                  <a:schemeClr val="bg1">
                    <a:alpha val="90117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Add subheading</a:t>
            </a:r>
            <a:endParaRPr lang="en-US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E2F70A5A-A48D-AD44-9597-5CFB2212AE9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764532" y="4708416"/>
            <a:ext cx="1506519" cy="97543"/>
          </a:xfrm>
          <a:noFill/>
        </p:spPr>
        <p:txBody>
          <a:bodyPr wrap="square" lIns="0" tIns="0" rIns="0" bIns="0">
            <a:spAutoFit/>
          </a:bodyPr>
          <a:lstStyle>
            <a:lvl1pPr marL="109725" indent="-109725">
              <a:lnSpc>
                <a:spcPts val="740"/>
              </a:lnSpc>
              <a:buSzPct val="120000"/>
              <a:buFont typeface="Arial" panose="020B0604020202020204" pitchFamily="34" charset="0"/>
              <a:buChar char="•"/>
              <a:tabLst/>
              <a:defRPr sz="970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Bullet point</a:t>
            </a:r>
            <a:endParaRPr lang="en-US"/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2533D198-1DCA-0F43-A476-9B0005E864E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764636" y="4414773"/>
            <a:ext cx="1506519" cy="331483"/>
          </a:xfrm>
          <a:noFill/>
        </p:spPr>
        <p:txBody>
          <a:bodyPr wrap="square" lIns="0" tIns="0" rIns="0" bIns="144000">
            <a:spAutoFit/>
          </a:bodyPr>
          <a:lstStyle>
            <a:lvl1pPr marL="0" indent="0">
              <a:lnSpc>
                <a:spcPts val="1637"/>
              </a:lnSpc>
              <a:buFontTx/>
              <a:buNone/>
              <a:defRPr sz="1152" b="1" i="0" spc="-6" baseline="0">
                <a:solidFill>
                  <a:schemeClr val="bg1">
                    <a:alpha val="90117"/>
                  </a:schemeClr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Add subheading</a:t>
            </a:r>
            <a:endParaRPr lang="en-US"/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05EE9A24-94F6-0678-6562-00184B4AEB16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45148" y="2028449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2D39D818-7A71-60D7-9A50-AA840FE43D15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170918" y="2028449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DEDC5BE-D023-F1F5-6EB1-790C61D162DE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634951" y="3218811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BE81166E-992D-6952-FEE4-9945B352D0BD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3170918" y="3218811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43906060-436C-EE9F-BAD0-68ED504F44E1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34951" y="4441785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FC0380E2-44CD-C72C-D872-A987ECF7F666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170918" y="4441785"/>
            <a:ext cx="447190" cy="449310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4F1B784-1722-10A4-6410-2F7E1E5ECC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3294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Left Panel with Illustration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16D619DB-DE29-F392-B964-6CCA67F006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908602"/>
            <a:ext cx="479938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3290053"/>
            <a:ext cx="4799386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D1A3B95-3FF0-F7A7-C463-E76282FD8A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66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Page Full image background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4CC29C64-D300-2CD6-EA50-26740EC0519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12192000" cy="68580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8240" y="2079887"/>
            <a:ext cx="9431305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D6D6D6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40" y="661581"/>
            <a:ext cx="8732659" cy="4156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1" y="3100969"/>
            <a:ext cx="5239433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1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5A6ED0A-A117-2853-F977-E7B8283CE4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3530" y="3100969"/>
            <a:ext cx="5239433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1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8F052DE-72DB-9147-8A58-91BB1115BE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0241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cons with text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AF2D1E-28E0-2A45-B371-576AC7C81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0270694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AF2D1E-28E0-2A45-B371-576AC7C81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26B9393D-562A-67C5-B24E-591BC19D8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8171" y="2006594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3B3849C-DDC1-83DA-8F5A-3250711EF01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28171" y="3397032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34E866F-7285-E0B7-D13E-A886C78DDF0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528171" y="4772803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E6D6E64A-D25E-52A7-C21A-DFA7BFCEA3E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240278" y="2006594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E9DB0958-7EF3-C629-25B8-F995BF9A01C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240278" y="3397032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B5087C86-437E-0D3D-3EBA-DBD399FC28D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7240278" y="4772803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D9C7DE1A-B1FD-E425-1A02-A4E66BBE73B4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725164" y="2006595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4BD236AC-2B61-F904-25C7-09C0BC13C94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25164" y="3397032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1CAAC4CE-6740-E6CC-F842-A7E528C1423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25164" y="4772804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263972A6-1096-F79C-234A-307F81EB6EC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412222" y="2006595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CC992083-7201-3028-447E-75D45C7438EB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6412222" y="3397032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961C2F1F-2D94-2926-31D1-5AB9D2A95950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412222" y="4772804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B4C664B-E46D-3B5A-6842-DB27BB2D19D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1649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cons with subheading &amp; text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541007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8171" y="2359603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AE0843E6-1B72-F347-8AFD-4E62A0CC44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528171" y="2006594"/>
            <a:ext cx="3956515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07D65EFA-41AF-C047-84E0-CA7C3A516A1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28171" y="3756710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8B90B380-6427-5A45-BC1A-08C2BA62007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528171" y="3397032"/>
            <a:ext cx="3956515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CA03FC75-C7F2-CB49-A829-C5E2E756992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528171" y="5110157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EC069213-71E3-1241-8576-A325410F1C5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528171" y="4772803"/>
            <a:ext cx="3956515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68F08835-79F2-8046-92AB-B8E6E977EFC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240278" y="2359603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B03ACDF9-C162-2F44-9FAE-DD59828FAA2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240278" y="2006594"/>
            <a:ext cx="3956515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Text Placeholder 12">
            <a:extLst>
              <a:ext uri="{FF2B5EF4-FFF2-40B4-BE49-F238E27FC236}">
                <a16:creationId xmlns:a16="http://schemas.microsoft.com/office/drawing/2014/main" id="{46BA767C-9470-2F49-A41E-D248AE48632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240278" y="3756710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28831C06-B0F6-C443-92F0-C8BD1887EE27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240278" y="3397032"/>
            <a:ext cx="3956515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CF8F8B2A-B3F3-CF4D-9FE3-960CE3D983FE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7240278" y="5110157"/>
            <a:ext cx="3956515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C5A9969B-1781-924E-8F73-58F7E6CC692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240278" y="4772803"/>
            <a:ext cx="3956515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004C215-72B3-2107-6C83-BFFD6478FEF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725164" y="2006595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BA141C84-09A6-199A-8D28-0AC7D5F02717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25164" y="3397032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604584-A6F2-0ABC-7EFB-08AD87145FE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25164" y="4772804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81851680-E3E0-D421-59C5-8FB331000D9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412222" y="2006595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0E759F08-59E6-7A68-F430-0852333BEC6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6412222" y="3397032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DD04401-0E2F-F3CE-371F-C3B66B85B117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412222" y="4772804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DD3FFBA-5B96-2C7A-ADD7-24A78F5E5D4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611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cons with text &amp; image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7221ED1B-35B2-07B2-C0F3-12DBFAA6DE72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980889" y="7272"/>
            <a:ext cx="3211111" cy="6856345"/>
          </a:xfrm>
          <a:noFill/>
        </p:spPr>
        <p:txBody>
          <a:bodyPr anchor="ctr" anchorCtr="0">
            <a:normAutofit/>
          </a:bodyPr>
          <a:lstStyle>
            <a:lvl1pPr marL="0" indent="0" algn="ctr">
              <a:buNone/>
              <a:defRPr sz="1091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insert supporting imag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AF2D1E-28E0-2A45-B371-576AC7C81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0270694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AF2D1E-28E0-2A45-B371-576AC7C81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11805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8118056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26B9393D-562A-67C5-B24E-591BC19D8A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8172" y="2006594"/>
            <a:ext cx="2577839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3B3849C-DDC1-83DA-8F5A-3250711EF01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28172" y="3397032"/>
            <a:ext cx="2577839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034E866F-7285-E0B7-D13E-A886C78DDF0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528172" y="4772803"/>
            <a:ext cx="2577839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E6D6E64A-D25E-52A7-C21A-DFA7BFCEA3E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050751" y="2006594"/>
            <a:ext cx="2577839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E9DB0958-7EF3-C629-25B8-F995BF9A01C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050751" y="3397032"/>
            <a:ext cx="2577839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B5087C86-437E-0D3D-3EBA-DBD399FC28D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050751" y="4772803"/>
            <a:ext cx="2577839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D9C7DE1A-B1FD-E425-1A02-A4E66BBE73B4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725164" y="2006595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4BD236AC-2B61-F904-25C7-09C0BC13C94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25164" y="3397032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1CAAC4CE-6740-E6CC-F842-A7E528C1423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25164" y="4772804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263972A6-1096-F79C-234A-307F81EB6EC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222694" y="2006595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CC992083-7201-3028-447E-75D45C7438EB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5222694" y="3397032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961C2F1F-2D94-2926-31D1-5AB9D2A95950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5222694" y="4772804"/>
            <a:ext cx="589313" cy="589235"/>
          </a:xfrm>
        </p:spPr>
        <p:txBody>
          <a:bodyPr>
            <a:normAutofit/>
          </a:bodyPr>
          <a:lstStyle>
            <a:lvl1pPr marL="0" indent="0" algn="ctr">
              <a:buNone/>
              <a:defRPr sz="728">
                <a:solidFill>
                  <a:srgbClr val="D6D6D6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55229C4-5815-172F-D386-F53B590FCA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6522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with text horizontal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279993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7646" y="3256138"/>
            <a:ext cx="2212808" cy="441916"/>
          </a:xfrm>
        </p:spPr>
        <p:txBody>
          <a:bodyPr wrap="square" lIns="0" tIns="0" rIns="0" bIns="0">
            <a:spAutoFit/>
          </a:bodyPr>
          <a:lstStyle>
            <a:lvl1pPr marL="0" marR="0" indent="0" algn="ctr" defTabSz="863375" rtl="0" eaLnBrk="1" fontAlgn="auto" latinLnBrk="0" hangingPunct="1">
              <a:lnSpc>
                <a:spcPts val="1758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334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F09D8A5-B7B3-8C4A-B48E-A376674887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D6D6D6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2F8AF9B3-8825-CE45-985B-2FD87FD72AC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82704" y="3256138"/>
            <a:ext cx="2212808" cy="441916"/>
          </a:xfrm>
        </p:spPr>
        <p:txBody>
          <a:bodyPr wrap="square" lIns="0" tIns="0" rIns="0" bIns="0">
            <a:spAutoFit/>
          </a:bodyPr>
          <a:lstStyle>
            <a:lvl1pPr marL="0" marR="0" indent="0" algn="ctr" defTabSz="863375" rtl="0" eaLnBrk="1" fontAlgn="auto" latinLnBrk="0" hangingPunct="1">
              <a:lnSpc>
                <a:spcPts val="1758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334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7AEC0B0E-C8B4-5A44-A99A-7026EAAA6B7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404070" y="3256138"/>
            <a:ext cx="2212808" cy="441916"/>
          </a:xfrm>
        </p:spPr>
        <p:txBody>
          <a:bodyPr wrap="square" lIns="0" tIns="0" rIns="0" bIns="0">
            <a:spAutoFit/>
          </a:bodyPr>
          <a:lstStyle>
            <a:lvl1pPr marL="0" marR="0" indent="0" algn="ctr" defTabSz="863375" rtl="0" eaLnBrk="1" fontAlgn="auto" latinLnBrk="0" hangingPunct="1">
              <a:lnSpc>
                <a:spcPts val="1758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334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3E88DC88-734F-514B-AA25-B5D278A594F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209127" y="3256138"/>
            <a:ext cx="2212808" cy="441916"/>
          </a:xfrm>
        </p:spPr>
        <p:txBody>
          <a:bodyPr wrap="square" lIns="0" tIns="0" rIns="0" bIns="0">
            <a:spAutoFit/>
          </a:bodyPr>
          <a:lstStyle>
            <a:lvl1pPr marL="0" marR="0" indent="0" algn="ctr" defTabSz="863375" rtl="0" eaLnBrk="1" fontAlgn="auto" latinLnBrk="0" hangingPunct="1">
              <a:lnSpc>
                <a:spcPts val="1758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334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35EEAF74-8E02-6547-A9F0-375D3109381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906995" y="5713580"/>
            <a:ext cx="4378972" cy="167949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091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91D99D6D-DCCA-164E-B548-32C6572A75D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117743" y="5463029"/>
            <a:ext cx="3956515" cy="207044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ts val="1758"/>
              </a:lnSpc>
              <a:buFontTx/>
              <a:buNone/>
              <a:defRPr sz="1213" b="1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6914FB90-9980-BF3E-41E4-E93F4929FC8B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525676" y="244112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C3D39A1A-4F9F-A15B-9E9D-CD86F29B9062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339597" y="244112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EE5DA8A-6F83-48F8-5D9A-110220B5A7D1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7143591" y="244112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3B4E0014-F503-3844-D89F-0C01A6034CC6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9930805" y="244112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1368355-F1CD-7EB4-62C2-2EEEB4E011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5011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ertical icons with image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6176950-2FB7-EC4E-A34A-71076030AF8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148271" y="-20107"/>
            <a:ext cx="4043729" cy="6856345"/>
          </a:xfrm>
          <a:noFill/>
        </p:spPr>
        <p:txBody>
          <a:bodyPr anchor="ctr" anchorCtr="0">
            <a:normAutofit/>
          </a:bodyPr>
          <a:lstStyle>
            <a:lvl1pPr marL="0" indent="0" algn="ctr">
              <a:buNone/>
              <a:defRPr sz="1091" b="0" i="0">
                <a:solidFill>
                  <a:srgbClr val="00FF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insert supporting imag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BB3912-6C9B-FB44-A0C8-247E15E89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2589099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BB3912-6C9B-FB44-A0C8-247E15E89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1" y="1115042"/>
            <a:ext cx="6851760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6851760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85364" y="2559141"/>
            <a:ext cx="5264759" cy="230832"/>
          </a:xfrm>
        </p:spPr>
        <p:txBody>
          <a:bodyPr wrap="square" lIns="0" tIns="0" rIns="0" bIns="0" anchor="ctr" anchorCtr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516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F62DF433-663E-C947-A579-0804F7647F4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485364" y="3863647"/>
            <a:ext cx="5264759" cy="230832"/>
          </a:xfrm>
        </p:spPr>
        <p:txBody>
          <a:bodyPr wrap="square" lIns="0" tIns="0" rIns="0" bIns="0" anchor="ctr" anchorCtr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516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4A458D0F-2C0F-3848-A587-E867436C10B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485364" y="5189895"/>
            <a:ext cx="5264759" cy="230832"/>
          </a:xfrm>
        </p:spPr>
        <p:txBody>
          <a:bodyPr wrap="square" lIns="0" tIns="0" rIns="0" bIns="0" anchor="ctr" anchorCtr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516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D836C5AD-AD15-EC26-87FB-B22803B88C5D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37833" y="2324227"/>
            <a:ext cx="699462" cy="700658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7DA18E38-D0B1-AA09-C33D-952F73BF372F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637833" y="3628733"/>
            <a:ext cx="699462" cy="700658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208F185-165A-ABAF-A4FE-73DCD7F873E9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37833" y="4954981"/>
            <a:ext cx="699462" cy="700658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48F4D-EB5D-734B-848E-21F8C1A45D9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2562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d numbered list - 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1723141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1AEAB9-982C-CB6E-25DA-3EA7FC7DFC07}"/>
              </a:ext>
            </a:extLst>
          </p:cNvPr>
          <p:cNvSpPr/>
          <p:nvPr userDrawn="1"/>
        </p:nvSpPr>
        <p:spPr>
          <a:xfrm>
            <a:off x="662370" y="1988821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5E6D21D-2B18-7823-9256-EA3C5B2AE18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02175" y="2328968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C2FF5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FDEF2CC-C5FB-0A57-9974-C53B56CA8B8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675482" y="1988821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6B95DC-485A-3F6E-EF55-3AB934ED7B8A}"/>
              </a:ext>
            </a:extLst>
          </p:cNvPr>
          <p:cNvSpPr/>
          <p:nvPr userDrawn="1"/>
        </p:nvSpPr>
        <p:spPr>
          <a:xfrm>
            <a:off x="662370" y="3408124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E1002C04-873A-37A0-1511-E7643FAC052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02175" y="3748271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C2FF5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1769AA0A-12E8-AA6F-F3C4-A81CFE45DCD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675482" y="3408124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80EA3C-6E6E-18C5-EB9B-C01AD23408C6}"/>
              </a:ext>
            </a:extLst>
          </p:cNvPr>
          <p:cNvSpPr/>
          <p:nvPr userDrawn="1"/>
        </p:nvSpPr>
        <p:spPr>
          <a:xfrm>
            <a:off x="662370" y="4760897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7B544A1-B8DC-4CC7-D922-FA7C1FE4956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02175" y="5101044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C2FF5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2B774167-ACA7-C2B6-2652-8E08C12C801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675482" y="4760897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81C10CF-7DB6-80B5-6501-81717B81CF25}"/>
              </a:ext>
            </a:extLst>
          </p:cNvPr>
          <p:cNvSpPr/>
          <p:nvPr userDrawn="1"/>
        </p:nvSpPr>
        <p:spPr>
          <a:xfrm>
            <a:off x="6151802" y="1988821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54B05F34-DAF6-9F03-CB36-4B463EB3474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91608" y="2328968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C2FF5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4F7F687B-9F85-7172-7AB1-A4ED2792BC3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164914" y="1988821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84A9D58-6A98-09E5-B9B6-13164831CFD2}"/>
              </a:ext>
            </a:extLst>
          </p:cNvPr>
          <p:cNvSpPr/>
          <p:nvPr userDrawn="1"/>
        </p:nvSpPr>
        <p:spPr>
          <a:xfrm>
            <a:off x="6151802" y="3408124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275E9DE1-E1E1-5327-E13D-993A628D7F9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91608" y="3748271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C2FF5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B68B2E93-00D0-75E8-181E-19A90E758315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7164914" y="3408124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AAD9EC5-BCD5-FB4F-50B2-B89E754686BD}"/>
              </a:ext>
            </a:extLst>
          </p:cNvPr>
          <p:cNvSpPr/>
          <p:nvPr userDrawn="1"/>
        </p:nvSpPr>
        <p:spPr>
          <a:xfrm>
            <a:off x="6151802" y="4760897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6B02D581-A492-032E-6A05-C4CAF987FE1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91608" y="5101044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C2FF5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CEF4A88F-2372-4DC3-F667-9A3680E1D946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164914" y="4760897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ACAB029-BEB6-CC03-1CC3-152ED3B155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830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 with numbered list &amp; icon - 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412978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41" y="1588933"/>
            <a:ext cx="4534108" cy="20151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850" b="1" i="0" spc="-91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0790" y="1588932"/>
            <a:ext cx="5193844" cy="223932"/>
          </a:xfrm>
        </p:spPr>
        <p:txBody>
          <a:bodyPr wrap="square" lIns="0" tIns="0" rIns="0" bIns="0">
            <a:spAutoFit/>
          </a:bodyPr>
          <a:lstStyle>
            <a:lvl1pPr marL="311850" indent="-311850">
              <a:lnSpc>
                <a:spcPct val="100000"/>
              </a:lnSpc>
              <a:buClr>
                <a:schemeClr val="bg2"/>
              </a:buClr>
              <a:buFont typeface="+mj-lt"/>
              <a:buAutoNum type="arabicPeriod"/>
              <a:defRPr sz="1455" b="0" i="0" u="none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CEA9EA5-8BAD-6F4D-B8F1-BDF49DAC0F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5267"/>
            <a:ext cx="1244575" cy="297759"/>
          </a:xfrm>
          <a:prstGeom prst="rect">
            <a:avLst/>
          </a:prstGeom>
        </p:spPr>
      </p:pic>
      <p:sp>
        <p:nvSpPr>
          <p:cNvPr id="2" name="object 14">
            <a:extLst>
              <a:ext uri="{FF2B5EF4-FFF2-40B4-BE49-F238E27FC236}">
                <a16:creationId xmlns:a16="http://schemas.microsoft.com/office/drawing/2014/main" id="{BD97842C-7547-8A5C-324F-EB296A7617F8}"/>
              </a:ext>
            </a:extLst>
          </p:cNvPr>
          <p:cNvSpPr/>
          <p:nvPr userDrawn="1"/>
        </p:nvSpPr>
        <p:spPr>
          <a:xfrm rot="10800000" flipH="1">
            <a:off x="5746678" y="1626138"/>
            <a:ext cx="28603" cy="3723884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25400">
            <a:solidFill>
              <a:srgbClr val="00D7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4DD5075-7A6D-AF8A-CA7C-E944FA074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724" y="6314726"/>
            <a:ext cx="584423" cy="205121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800C799C-9335-4C8C-5062-291E9EAD88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39721" y="4127614"/>
            <a:ext cx="1222569" cy="122240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98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</p:spTree>
    <p:extLst>
      <p:ext uri="{BB962C8B-B14F-4D97-AF65-F5344CB8AC3E}">
        <p14:creationId xmlns:p14="http://schemas.microsoft.com/office/powerpoint/2010/main" val="42426973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d numbered lis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1723141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1AEAB9-982C-CB6E-25DA-3EA7FC7DFC07}"/>
              </a:ext>
            </a:extLst>
          </p:cNvPr>
          <p:cNvSpPr/>
          <p:nvPr userDrawn="1"/>
        </p:nvSpPr>
        <p:spPr>
          <a:xfrm>
            <a:off x="662370" y="1988821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5E6D21D-2B18-7823-9256-EA3C5B2AE18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02175" y="2328968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FDEF2CC-C5FB-0A57-9974-C53B56CA8B8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675482" y="2002932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6B95DC-485A-3F6E-EF55-3AB934ED7B8A}"/>
              </a:ext>
            </a:extLst>
          </p:cNvPr>
          <p:cNvSpPr/>
          <p:nvPr userDrawn="1"/>
        </p:nvSpPr>
        <p:spPr>
          <a:xfrm>
            <a:off x="662370" y="3408124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E1002C04-873A-37A0-1511-E7643FAC052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02175" y="3748271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1769AA0A-12E8-AA6F-F3C4-A81CFE45DCD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675482" y="3408124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180EA3C-6E6E-18C5-EB9B-C01AD23408C6}"/>
              </a:ext>
            </a:extLst>
          </p:cNvPr>
          <p:cNvSpPr/>
          <p:nvPr userDrawn="1"/>
        </p:nvSpPr>
        <p:spPr>
          <a:xfrm>
            <a:off x="662370" y="4760897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7B544A1-B8DC-4CC7-D922-FA7C1FE4956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02175" y="5101044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2B774167-ACA7-C2B6-2652-8E08C12C801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675482" y="4760897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81C10CF-7DB6-80B5-6501-81717B81CF25}"/>
              </a:ext>
            </a:extLst>
          </p:cNvPr>
          <p:cNvSpPr/>
          <p:nvPr userDrawn="1"/>
        </p:nvSpPr>
        <p:spPr>
          <a:xfrm>
            <a:off x="6151802" y="1988821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54B05F34-DAF6-9F03-CB36-4B463EB3474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91608" y="2328968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4F7F687B-9F85-7172-7AB1-A4ED2792BC3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164914" y="2002932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84A9D58-6A98-09E5-B9B6-13164831CFD2}"/>
              </a:ext>
            </a:extLst>
          </p:cNvPr>
          <p:cNvSpPr/>
          <p:nvPr userDrawn="1"/>
        </p:nvSpPr>
        <p:spPr>
          <a:xfrm>
            <a:off x="6151802" y="3408124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275E9DE1-E1E1-5327-E13D-993A628D7F9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91608" y="3748271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B68B2E93-00D0-75E8-181E-19A90E758315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7164914" y="3408124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AAD9EC5-BCD5-FB4F-50B2-B89E754686BD}"/>
              </a:ext>
            </a:extLst>
          </p:cNvPr>
          <p:cNvSpPr/>
          <p:nvPr userDrawn="1"/>
        </p:nvSpPr>
        <p:spPr>
          <a:xfrm>
            <a:off x="6151802" y="4760897"/>
            <a:ext cx="873307" cy="873192"/>
          </a:xfrm>
          <a:prstGeom prst="rect">
            <a:avLst/>
          </a:prstGeom>
          <a:noFill/>
          <a:ln w="254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6B02D581-A492-032E-6A05-C4CAF987FE1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91608" y="5101044"/>
            <a:ext cx="593696" cy="240900"/>
          </a:xfrm>
        </p:spPr>
        <p:txBody>
          <a:bodyPr wrap="square" lIns="0" tIns="0" rIns="0" bIns="0">
            <a:spAutoFit/>
          </a:bodyPr>
          <a:lstStyle>
            <a:lvl1pPr marL="244475" indent="-244475" algn="ctr">
              <a:lnSpc>
                <a:spcPts val="1758"/>
              </a:lnSpc>
              <a:buFontTx/>
              <a:buNone/>
              <a:tabLst/>
              <a:defRPr sz="2425" b="1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CEF4A88F-2372-4DC3-F667-9A3680E1D946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164914" y="4760897"/>
            <a:ext cx="3992886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4D13AEA-391F-FCED-B20B-E330827915B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7730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with Image - 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6176950-2FB7-EC4E-A34A-71076030AF8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980889" y="22131"/>
            <a:ext cx="3211111" cy="6855976"/>
          </a:xfrm>
          <a:noFill/>
        </p:spPr>
        <p:txBody>
          <a:bodyPr anchor="ctr" anchorCtr="0">
            <a:normAutofit/>
          </a:bodyPr>
          <a:lstStyle>
            <a:lvl1pPr marL="0" indent="0" algn="ctr">
              <a:buNone/>
              <a:defRPr sz="1091" b="0" i="0">
                <a:solidFill>
                  <a:srgbClr val="D4D3C4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insert supporting imag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BB3912-6C9B-FB44-A0C8-247E15E89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523819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BB3912-6C9B-FB44-A0C8-247E15E89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1" y="1077254"/>
            <a:ext cx="8121512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121513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3F562A-985E-1D00-1F83-44E6D66227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8340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with Imag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BB3912-6C9B-FB44-A0C8-247E15E89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523819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BB3912-6C9B-FB44-A0C8-247E15E89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1" y="1077254"/>
            <a:ext cx="8121512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121513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157CD117-E5A3-57EB-76A5-D6E4CEA32CC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980889" y="1"/>
            <a:ext cx="3211111" cy="6858000"/>
          </a:xfrm>
          <a:noFill/>
        </p:spPr>
        <p:txBody>
          <a:bodyPr anchor="ctr" anchorCtr="0">
            <a:normAutofit/>
          </a:bodyPr>
          <a:lstStyle>
            <a:lvl1pPr marL="0" indent="0" algn="ctr">
              <a:buNone/>
              <a:defRPr sz="1091" b="0" i="0">
                <a:solidFill>
                  <a:srgbClr val="D6D6D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insert supporting imag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541A962-E45E-D4D9-EE38-94836323267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574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 with image 1 -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6176950-2FB7-EC4E-A34A-71076030AF8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980889" y="0"/>
            <a:ext cx="3211111" cy="6878107"/>
          </a:xfrm>
          <a:noFill/>
        </p:spPr>
        <p:txBody>
          <a:bodyPr anchor="ctr" anchorCtr="0">
            <a:normAutofit/>
          </a:bodyPr>
          <a:lstStyle>
            <a:lvl1pPr marL="0" indent="0" algn="ctr">
              <a:buNone/>
              <a:defRPr sz="1091" b="0" i="0">
                <a:solidFill>
                  <a:srgbClr val="D6D6D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insert supporting imag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BB3912-6C9B-FB44-A0C8-247E15E89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609926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BB3912-6C9B-FB44-A0C8-247E15E89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1" y="1077254"/>
            <a:ext cx="8121512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121513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53D75F-ED7B-DF4C-91AD-5402CA7B5EF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39201" y="2176225"/>
            <a:ext cx="2314143" cy="579440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21AB01A0-617D-3142-8344-124906EEC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202" y="2503696"/>
            <a:ext cx="3243133" cy="244420"/>
          </a:xfrm>
        </p:spPr>
        <p:txBody>
          <a:bodyPr wrap="square" lIns="0" tIns="0" rIns="0" bIns="0">
            <a:spAutoFit/>
          </a:bodyPr>
          <a:lstStyle>
            <a:lvl1pPr marL="0" marR="0" indent="-163625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D6D6D6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81BCE3A-B13A-5446-B52A-C13FC949BBA2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639201" y="4391603"/>
            <a:ext cx="2314143" cy="579440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C31B0963-9E97-6D48-A8CB-FB0C1B13FC3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39202" y="4700484"/>
            <a:ext cx="3243133" cy="244420"/>
          </a:xfrm>
        </p:spPr>
        <p:txBody>
          <a:bodyPr wrap="square" lIns="0" tIns="0" rIns="0" bIns="0">
            <a:spAutoFit/>
          </a:bodyPr>
          <a:lstStyle>
            <a:lvl1pPr marL="0" marR="0" indent="-163625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D6D6D6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B656EC72-9829-6341-A968-7150985B27C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770138" y="2176225"/>
            <a:ext cx="2314143" cy="579440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043164EB-8A5A-404D-9258-A4B9FF62347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770138" y="2503696"/>
            <a:ext cx="3243133" cy="244420"/>
          </a:xfrm>
        </p:spPr>
        <p:txBody>
          <a:bodyPr wrap="square" lIns="0" tIns="0" rIns="0" bIns="0">
            <a:spAutoFit/>
          </a:bodyPr>
          <a:lstStyle>
            <a:lvl1pPr marL="0" marR="0" indent="-163625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D6D6D6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CB76184A-1536-9D40-A2AE-0D3C45B1525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770138" y="4389511"/>
            <a:ext cx="2314143" cy="579440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680ED34C-A51A-2348-91E3-68325A2E76D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4770138" y="4695128"/>
            <a:ext cx="3243133" cy="244420"/>
          </a:xfrm>
        </p:spPr>
        <p:txBody>
          <a:bodyPr wrap="square" lIns="0" tIns="0" rIns="0" bIns="0">
            <a:spAutoFit/>
          </a:bodyPr>
          <a:lstStyle>
            <a:lvl1pPr marL="0" marR="0" indent="-163625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D6D6D6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85E9230-2439-4600-FEB5-DD6E65DC191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3398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 with image 1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BB3912-6C9B-FB44-A0C8-247E15E89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609926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BB3912-6C9B-FB44-A0C8-247E15E89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1" y="1077254"/>
            <a:ext cx="8121512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121513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53D75F-ED7B-DF4C-91AD-5402CA7B5EF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39201" y="2176225"/>
            <a:ext cx="2314143" cy="579440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21AB01A0-617D-3142-8344-124906EEC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9202" y="2503696"/>
            <a:ext cx="3243133" cy="244420"/>
          </a:xfrm>
        </p:spPr>
        <p:txBody>
          <a:bodyPr wrap="square" lIns="0" tIns="0" rIns="0" bIns="0">
            <a:spAutoFit/>
          </a:bodyPr>
          <a:lstStyle>
            <a:lvl1pPr marL="0" marR="0" indent="-163625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81BCE3A-B13A-5446-B52A-C13FC949BBA2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639201" y="4391603"/>
            <a:ext cx="2314143" cy="579440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C31B0963-9E97-6D48-A8CB-FB0C1B13FC3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39202" y="4700484"/>
            <a:ext cx="3243133" cy="244420"/>
          </a:xfrm>
        </p:spPr>
        <p:txBody>
          <a:bodyPr wrap="square" lIns="0" tIns="0" rIns="0" bIns="0">
            <a:spAutoFit/>
          </a:bodyPr>
          <a:lstStyle>
            <a:lvl1pPr marL="0" marR="0" indent="-163625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B656EC72-9829-6341-A968-7150985B27C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770138" y="2176225"/>
            <a:ext cx="2314143" cy="579440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043164EB-8A5A-404D-9258-A4B9FF62347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770138" y="2503696"/>
            <a:ext cx="3243133" cy="244420"/>
          </a:xfrm>
        </p:spPr>
        <p:txBody>
          <a:bodyPr wrap="square" lIns="0" tIns="0" rIns="0" bIns="0">
            <a:spAutoFit/>
          </a:bodyPr>
          <a:lstStyle>
            <a:lvl1pPr marL="0" marR="0" indent="-163625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CB76184A-1536-9D40-A2AE-0D3C45B1525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770138" y="4389511"/>
            <a:ext cx="2314143" cy="579440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680ED34C-A51A-2348-91E3-68325A2E76D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4770138" y="4695128"/>
            <a:ext cx="3243133" cy="244420"/>
          </a:xfrm>
        </p:spPr>
        <p:txBody>
          <a:bodyPr wrap="square" lIns="0" tIns="0" rIns="0" bIns="0">
            <a:spAutoFit/>
          </a:bodyPr>
          <a:lstStyle>
            <a:lvl1pPr marL="0" marR="0" indent="-163625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48F0D624-D01D-8D68-8BCB-622AD90B906E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980889" y="1"/>
            <a:ext cx="3211111" cy="6858000"/>
          </a:xfrm>
          <a:noFill/>
        </p:spPr>
        <p:txBody>
          <a:bodyPr anchor="ctr" anchorCtr="0">
            <a:normAutofit/>
          </a:bodyPr>
          <a:lstStyle>
            <a:lvl1pPr marL="0" indent="0" algn="ctr">
              <a:buNone/>
              <a:defRPr sz="1091" b="0" i="0">
                <a:solidFill>
                  <a:srgbClr val="D6D6D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insert supporting imag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A4019C5-687D-46AB-1106-554248B1E2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0854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 with image 2 -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BB3912-6C9B-FB44-A0C8-247E15E89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772877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BB3912-6C9B-FB44-A0C8-247E15E89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1" y="1077254"/>
            <a:ext cx="8121512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8121513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53D75F-ED7B-DF4C-91AD-5402CA7B5EF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39201" y="2226594"/>
            <a:ext cx="2314143" cy="369588"/>
          </a:xfrm>
        </p:spPr>
        <p:txBody>
          <a:bodyPr lIns="0" tIns="0" rIns="0" bIns="0">
            <a:spAutoFit/>
          </a:bodyPr>
          <a:lstStyle>
            <a:lvl1pPr marL="207900" indent="-207900"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21AB01A0-617D-3142-8344-124906EEC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4262" y="2512149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903A441-4268-174A-AEDF-9A55AD551E2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39201" y="3465625"/>
            <a:ext cx="2314143" cy="369588"/>
          </a:xfrm>
        </p:spPr>
        <p:txBody>
          <a:bodyPr lIns="0" tIns="0" rIns="0" bIns="0">
            <a:spAutoFit/>
          </a:bodyPr>
          <a:lstStyle>
            <a:lvl1pPr marL="211750" indent="-211750"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F93E4FC8-8D27-644E-B1AA-694615C6D38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44262" y="3758215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0DF38AEB-7924-184C-9516-9A6D28A53A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9201" y="4545970"/>
            <a:ext cx="2314143" cy="184744"/>
          </a:xfrm>
        </p:spPr>
        <p:txBody>
          <a:bodyPr lIns="0" tIns="0" rIns="0" bIns="0">
            <a:spAutoFit/>
          </a:bodyPr>
          <a:lstStyle>
            <a:lvl1pPr marL="211750" indent="-211750">
              <a:buClr>
                <a:srgbClr val="00D700"/>
              </a:buClr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Add bullet poin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65BD3D7-851D-0D4A-A049-E4E1E722168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44262" y="4838560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94A89600-C417-0F43-A687-4F50F9CBE61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779975" y="2226594"/>
            <a:ext cx="2314143" cy="369588"/>
          </a:xfrm>
        </p:spPr>
        <p:txBody>
          <a:bodyPr lIns="0" tIns="0" rIns="0" bIns="0">
            <a:spAutoFit/>
          </a:bodyPr>
          <a:lstStyle>
            <a:lvl1pPr marL="211750" indent="-211750"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6DAFEE4-E5E9-F845-B091-165A5CF27EC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985036" y="2512149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CA01527-9535-AD40-9A1E-C7D1E95385C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779975" y="3465625"/>
            <a:ext cx="2314143" cy="369588"/>
          </a:xfrm>
        </p:spPr>
        <p:txBody>
          <a:bodyPr lIns="0" tIns="0" rIns="0" bIns="0">
            <a:spAutoFit/>
          </a:bodyPr>
          <a:lstStyle>
            <a:lvl1pPr marL="211750" indent="-211750"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FEF69753-F982-6141-9731-B312213024F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985036" y="3758215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F70BEBE6-4236-CA49-8EBE-42765CD075B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779975" y="4545970"/>
            <a:ext cx="2314143" cy="184744"/>
          </a:xfrm>
        </p:spPr>
        <p:txBody>
          <a:bodyPr lIns="0" tIns="0" rIns="0" bIns="0">
            <a:spAutoFit/>
          </a:bodyPr>
          <a:lstStyle>
            <a:lvl1pPr marL="211750" indent="-211750"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Add bullet point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D8DF5D94-7174-7946-BA1B-954D6DBF16BC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985036" y="4838560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45BB79A-5D27-11C6-47A8-5D7C1AAB0329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980889" y="22131"/>
            <a:ext cx="3211111" cy="6855976"/>
          </a:xfrm>
          <a:noFill/>
        </p:spPr>
        <p:txBody>
          <a:bodyPr anchor="ctr" anchorCtr="0">
            <a:normAutofit/>
          </a:bodyPr>
          <a:lstStyle>
            <a:lvl1pPr marL="0" indent="0" algn="ctr">
              <a:buNone/>
              <a:defRPr sz="1091" b="0" i="0">
                <a:solidFill>
                  <a:srgbClr val="D6D6D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insert supporting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1D53B0-1B67-D7CE-88B5-6EB2C60730F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0294914" y="6222235"/>
            <a:ext cx="1244575" cy="297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3983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 with image 2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BB3912-6C9B-FB44-A0C8-247E15E897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772877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BB3912-6C9B-FB44-A0C8-247E15E89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1" y="1077254"/>
            <a:ext cx="8121512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8121513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53D75F-ED7B-DF4C-91AD-5402CA7B5EF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39201" y="2226594"/>
            <a:ext cx="2314143" cy="369588"/>
          </a:xfrm>
        </p:spPr>
        <p:txBody>
          <a:bodyPr lIns="0" tIns="0" rIns="0" bIns="0">
            <a:spAutoFit/>
          </a:bodyPr>
          <a:lstStyle>
            <a:lvl1pPr marL="207900" indent="-207900"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21AB01A0-617D-3142-8344-124906EEC7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4262" y="2512149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903A441-4268-174A-AEDF-9A55AD551E2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39201" y="3465625"/>
            <a:ext cx="2314143" cy="369588"/>
          </a:xfrm>
        </p:spPr>
        <p:txBody>
          <a:bodyPr lIns="0" tIns="0" rIns="0" bIns="0">
            <a:spAutoFit/>
          </a:bodyPr>
          <a:lstStyle>
            <a:lvl1pPr marL="211750" indent="-211750"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F93E4FC8-8D27-644E-B1AA-694615C6D38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44262" y="3758215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0DF38AEB-7924-184C-9516-9A6D28A53A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9201" y="4545970"/>
            <a:ext cx="2314143" cy="184744"/>
          </a:xfrm>
        </p:spPr>
        <p:txBody>
          <a:bodyPr lIns="0" tIns="0" rIns="0" bIns="0">
            <a:spAutoFit/>
          </a:bodyPr>
          <a:lstStyle>
            <a:lvl1pPr marL="211750" indent="-211750">
              <a:buClr>
                <a:srgbClr val="00D700"/>
              </a:buClr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Add bullet poin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65BD3D7-851D-0D4A-A049-E4E1E722168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44262" y="4838560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94A89600-C417-0F43-A687-4F50F9CBE61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779975" y="2226594"/>
            <a:ext cx="2314143" cy="369588"/>
          </a:xfrm>
        </p:spPr>
        <p:txBody>
          <a:bodyPr lIns="0" tIns="0" rIns="0" bIns="0">
            <a:spAutoFit/>
          </a:bodyPr>
          <a:lstStyle>
            <a:lvl1pPr marL="211750" indent="-211750"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6DAFEE4-E5E9-F845-B091-165A5CF27EC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985036" y="2512149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CA01527-9535-AD40-9A1E-C7D1E95385C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779975" y="3465625"/>
            <a:ext cx="2314143" cy="369588"/>
          </a:xfrm>
        </p:spPr>
        <p:txBody>
          <a:bodyPr lIns="0" tIns="0" rIns="0" bIns="0">
            <a:spAutoFit/>
          </a:bodyPr>
          <a:lstStyle>
            <a:lvl1pPr marL="211750" indent="-211750"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FEF69753-F982-6141-9731-B312213024F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985036" y="3758215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F70BEBE6-4236-CA49-8EBE-42765CD075B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779975" y="4545970"/>
            <a:ext cx="2314143" cy="184744"/>
          </a:xfrm>
        </p:spPr>
        <p:txBody>
          <a:bodyPr lIns="0" tIns="0" rIns="0" bIns="0">
            <a:spAutoFit/>
          </a:bodyPr>
          <a:lstStyle>
            <a:lvl1pPr marL="211750" indent="-211750">
              <a:buSzPct val="140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Add bullet point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D8DF5D94-7174-7946-BA1B-954D6DBF16BC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985036" y="4838560"/>
            <a:ext cx="3243133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45BB79A-5D27-11C6-47A8-5D7C1AAB0329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980889" y="1"/>
            <a:ext cx="3211111" cy="6858000"/>
          </a:xfrm>
          <a:noFill/>
        </p:spPr>
        <p:txBody>
          <a:bodyPr anchor="ctr" anchorCtr="0">
            <a:normAutofit/>
          </a:bodyPr>
          <a:lstStyle>
            <a:lvl1pPr marL="0" indent="0" algn="ctr">
              <a:buNone/>
              <a:defRPr sz="1091" b="0" i="0">
                <a:solidFill>
                  <a:srgbClr val="D6D6D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insert supporting imag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1A9AB94-1777-CE76-8810-6035A11EDF9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4670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cons with bulleted list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7175055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5252" y="3270299"/>
            <a:ext cx="2489832" cy="758711"/>
          </a:xfrm>
        </p:spPr>
        <p:txBody>
          <a:bodyPr wrap="square" lIns="0" tIns="18000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944"/>
              </a:spcBef>
              <a:spcAft>
                <a:spcPts val="0"/>
              </a:spcAft>
              <a:buClr>
                <a:srgbClr val="808080"/>
              </a:buClr>
              <a:buSzPct val="120000"/>
              <a:buFont typeface="Arial" panose="020B0604020202020204" pitchFamily="34" charset="0"/>
              <a:buChar char="•"/>
              <a:tabLst/>
              <a:defRPr sz="1334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AE0843E6-1B72-F347-8AFD-4E62A0CC446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55252" y="2867918"/>
            <a:ext cx="2489832" cy="461665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35254C41-DBC2-3545-BB4B-CBC44B6BCCC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654136" y="3270299"/>
            <a:ext cx="2489832" cy="758711"/>
          </a:xfrm>
        </p:spPr>
        <p:txBody>
          <a:bodyPr wrap="square" lIns="0" tIns="18000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944"/>
              </a:spcBef>
              <a:spcAft>
                <a:spcPts val="0"/>
              </a:spcAft>
              <a:buClr>
                <a:srgbClr val="808080"/>
              </a:buClr>
              <a:buSzPct val="135000"/>
              <a:buFont typeface="Arial" panose="020B0604020202020204" pitchFamily="34" charset="0"/>
              <a:buChar char="•"/>
              <a:tabLst/>
              <a:defRPr sz="1334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D19EF09B-0E03-A447-9134-A526E205547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654136" y="2867918"/>
            <a:ext cx="2489832" cy="461665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9AE6D3FB-EC98-2A47-B3ED-A1528066166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453020" y="3270299"/>
            <a:ext cx="2489832" cy="758711"/>
          </a:xfrm>
        </p:spPr>
        <p:txBody>
          <a:bodyPr wrap="square" lIns="0" tIns="18000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944"/>
              </a:spcBef>
              <a:spcAft>
                <a:spcPts val="0"/>
              </a:spcAft>
              <a:buClr>
                <a:srgbClr val="808080"/>
              </a:buClr>
              <a:buSzPct val="135000"/>
              <a:buFont typeface="Arial" panose="020B0604020202020204" pitchFamily="34" charset="0"/>
              <a:buChar char="•"/>
              <a:tabLst/>
              <a:defRPr sz="1334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Text Placeholder 12">
            <a:extLst>
              <a:ext uri="{FF2B5EF4-FFF2-40B4-BE49-F238E27FC236}">
                <a16:creationId xmlns:a16="http://schemas.microsoft.com/office/drawing/2014/main" id="{AC11AA73-9778-5F4D-BE4C-2BA068FC931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453020" y="2867918"/>
            <a:ext cx="2489832" cy="461665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BD300975-658D-39A7-DB72-92D68475048E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855252" y="1878411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6C07C06-3CD8-1746-39B3-A5E821D04A4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654136" y="1878411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270610D4-F292-9E3D-2580-32230FD72D6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8453020" y="1878411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CD77B72-F989-2343-17F0-0BB8AF770E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71388795-54AC-6239-B3F7-CCF90B76F0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774B0B16-F2CB-4664-AC87-F02064317F2A}"/>
              </a:ext>
            </a:extLst>
          </p:cNvPr>
          <p:cNvSpPr/>
          <p:nvPr userDrawn="1"/>
        </p:nvSpPr>
        <p:spPr>
          <a:xfrm flipH="1">
            <a:off x="550503" y="1958874"/>
            <a:ext cx="106216" cy="3915063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317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" name="object 14">
            <a:extLst>
              <a:ext uri="{FF2B5EF4-FFF2-40B4-BE49-F238E27FC236}">
                <a16:creationId xmlns:a16="http://schemas.microsoft.com/office/drawing/2014/main" id="{350FDB8B-FF4F-7E2A-998E-B1D990A8409F}"/>
              </a:ext>
            </a:extLst>
          </p:cNvPr>
          <p:cNvSpPr/>
          <p:nvPr userDrawn="1"/>
        </p:nvSpPr>
        <p:spPr>
          <a:xfrm flipH="1">
            <a:off x="4367445" y="1958874"/>
            <a:ext cx="106216" cy="3915063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317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" name="object 14">
            <a:extLst>
              <a:ext uri="{FF2B5EF4-FFF2-40B4-BE49-F238E27FC236}">
                <a16:creationId xmlns:a16="http://schemas.microsoft.com/office/drawing/2014/main" id="{A22E66CF-9B22-CDF1-C1CB-234EEC0F538C}"/>
              </a:ext>
            </a:extLst>
          </p:cNvPr>
          <p:cNvSpPr/>
          <p:nvPr userDrawn="1"/>
        </p:nvSpPr>
        <p:spPr>
          <a:xfrm flipH="1">
            <a:off x="8132806" y="1958874"/>
            <a:ext cx="106216" cy="3915063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317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F227DDC-97A8-C7E8-BF18-FA75D138C01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9927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 and Number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365800-01DD-7E41-8DC4-AA19180633B7}"/>
              </a:ext>
            </a:extLst>
          </p:cNvPr>
          <p:cNvSpPr/>
          <p:nvPr userDrawn="1"/>
        </p:nvSpPr>
        <p:spPr>
          <a:xfrm>
            <a:off x="0" y="-54907"/>
            <a:ext cx="8940796" cy="6976674"/>
          </a:xfrm>
          <a:prstGeom prst="rect">
            <a:avLst/>
          </a:prstGeom>
          <a:solidFill>
            <a:srgbClr val="17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1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95497"/>
            <a:ext cx="479938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AF2C67B2-3C07-4741-8544-DCBC5E460A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1530" y="2153836"/>
            <a:ext cx="4811009" cy="243973"/>
          </a:xfrm>
        </p:spPr>
        <p:txBody>
          <a:bodyPr wrap="square" lIns="396000" tIns="3600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2F8DB5E0-4C93-564D-8F94-8F31F63BA79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0503" y="1926094"/>
            <a:ext cx="4811009" cy="230832"/>
          </a:xfrm>
        </p:spPr>
        <p:txBody>
          <a:bodyPr wrap="square" lIns="0" tIns="0" rIns="0" bIns="0">
            <a:spAutoFit/>
          </a:bodyPr>
          <a:lstStyle>
            <a:lvl1pPr marL="311850" indent="-311850">
              <a:lnSpc>
                <a:spcPts val="1758"/>
              </a:lnSpc>
              <a:buFont typeface="+mj-lt"/>
              <a:buAutoNum type="arabicPeriod"/>
              <a:tabLst/>
              <a:defRPr sz="1698" b="0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64A63B9-11D8-5144-AB89-42C2353A4C1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55098" y="3307465"/>
            <a:ext cx="2489832" cy="389379"/>
          </a:xfrm>
        </p:spPr>
        <p:txBody>
          <a:bodyPr wrap="square" lIns="0" tIns="18000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ts val="1758"/>
              </a:lnSpc>
              <a:spcBef>
                <a:spcPts val="944"/>
              </a:spcBef>
              <a:spcAft>
                <a:spcPts val="0"/>
              </a:spcAft>
              <a:buClr>
                <a:srgbClr val="00D700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7815298-E61B-6346-91F4-58CE04399F7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5097" y="3079723"/>
            <a:ext cx="2489832" cy="461665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73FFEE89-18B9-F549-82D8-C9E1FDC05F12}"/>
              </a:ext>
            </a:extLst>
          </p:cNvPr>
          <p:cNvSpPr>
            <a:spLocks noGrp="1"/>
          </p:cNvSpPr>
          <p:nvPr userDrawn="1">
            <p:ph type="body" sz="quarter" idx="39"/>
          </p:nvPr>
        </p:nvSpPr>
        <p:spPr>
          <a:xfrm>
            <a:off x="5669726" y="1923536"/>
            <a:ext cx="2736905" cy="184794"/>
          </a:xfrm>
        </p:spPr>
        <p:txBody>
          <a:bodyPr wrap="square" lIns="0" tIns="0" rIns="0" bIns="0">
            <a:spAutoFit/>
          </a:bodyPr>
          <a:lstStyle>
            <a:lvl1pPr marL="211750" indent="-211750">
              <a:buClr>
                <a:srgbClr val="00D700"/>
              </a:buClr>
              <a:buSzPct val="135000"/>
              <a:buFont typeface="Arial" panose="020B0604020202020204" pitchFamily="34" charset="0"/>
              <a:buChar char="•"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D503288F-794A-EE41-99DE-52A35B2F2087}"/>
              </a:ext>
            </a:extLst>
          </p:cNvPr>
          <p:cNvSpPr>
            <a:spLocks noGrp="1"/>
          </p:cNvSpPr>
          <p:nvPr userDrawn="1">
            <p:ph type="body" sz="quarter" idx="40"/>
          </p:nvPr>
        </p:nvSpPr>
        <p:spPr>
          <a:xfrm>
            <a:off x="5874787" y="2151570"/>
            <a:ext cx="2531845" cy="188385"/>
          </a:xfrm>
        </p:spPr>
        <p:txBody>
          <a:bodyPr wrap="square" lIns="0" tIns="0" rIns="0" bIns="0">
            <a:spAutoFit/>
          </a:bodyPr>
          <a:lstStyle>
            <a:lvl1pPr marL="0" marR="0" indent="0" algn="l" defTabSz="863375" rtl="0" eaLnBrk="1" fontAlgn="auto" latinLnBrk="0" hangingPunct="1">
              <a:lnSpc>
                <a:spcPts val="1601"/>
              </a:lnSpc>
              <a:spcBef>
                <a:spcPts val="944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8ACC3CE4-1A6E-5746-81F4-DFC7F838057B}"/>
              </a:ext>
            </a:extLst>
          </p:cNvPr>
          <p:cNvSpPr>
            <a:spLocks noGrp="1"/>
          </p:cNvSpPr>
          <p:nvPr userDrawn="1">
            <p:ph type="body" sz="quarter" idx="49"/>
          </p:nvPr>
        </p:nvSpPr>
        <p:spPr>
          <a:xfrm>
            <a:off x="4371641" y="3118453"/>
            <a:ext cx="2314143" cy="478643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334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8CA478A5-DE9A-814D-A5A4-3A5214C114FF}"/>
              </a:ext>
            </a:extLst>
          </p:cNvPr>
          <p:cNvSpPr>
            <a:spLocks noGrp="1"/>
          </p:cNvSpPr>
          <p:nvPr userDrawn="1">
            <p:ph type="body" sz="quarter" idx="50"/>
          </p:nvPr>
        </p:nvSpPr>
        <p:spPr>
          <a:xfrm>
            <a:off x="4371641" y="3374093"/>
            <a:ext cx="2979981" cy="244420"/>
          </a:xfrm>
        </p:spPr>
        <p:txBody>
          <a:bodyPr wrap="square" lIns="0" tIns="0" rIns="0" bIns="0">
            <a:spAutoFit/>
          </a:bodyPr>
          <a:lstStyle>
            <a:lvl1pPr marL="0" marR="0" indent="-163625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D700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7BAE260F-2E24-0A4D-9265-5F88A57AC92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98124" y="4850286"/>
            <a:ext cx="2314143" cy="478643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334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5BE5089D-00F7-C74D-A233-E361C966D9A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98125" y="5105925"/>
            <a:ext cx="2289137" cy="524567"/>
          </a:xfrm>
        </p:spPr>
        <p:txBody>
          <a:bodyPr wrap="square" lIns="0" tIns="0" rIns="0" bIns="0">
            <a:spAutoFit/>
          </a:bodyPr>
          <a:lstStyle>
            <a:lvl1pPr marL="277200" marR="0" indent="-277200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D700"/>
              </a:buClr>
              <a:buSzPct val="110000"/>
              <a:buFont typeface="+mj-lt"/>
              <a:buAutoNum type="arabicPeriod"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093FB9-E6CD-D68F-D4C4-54C51C9D1C5A}"/>
              </a:ext>
            </a:extLst>
          </p:cNvPr>
          <p:cNvSpPr/>
          <p:nvPr userDrawn="1"/>
        </p:nvSpPr>
        <p:spPr>
          <a:xfrm>
            <a:off x="4371643" y="4488508"/>
            <a:ext cx="2052271" cy="19505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28B0F-0B57-11B2-E2BE-2322B10C802A}"/>
              </a:ext>
            </a:extLst>
          </p:cNvPr>
          <p:cNvSpPr/>
          <p:nvPr userDrawn="1"/>
        </p:nvSpPr>
        <p:spPr>
          <a:xfrm>
            <a:off x="4371642" y="4444848"/>
            <a:ext cx="2052271" cy="433164"/>
          </a:xfrm>
          <a:prstGeom prst="rect">
            <a:avLst/>
          </a:prstGeom>
          <a:solidFill>
            <a:srgbClr val="00D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4C2B8E1-6EB1-A24F-9252-AE738AF81B6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94837" y="4957086"/>
            <a:ext cx="1833944" cy="564880"/>
          </a:xfrm>
        </p:spPr>
        <p:txBody>
          <a:bodyPr vert="horz" wrap="square" lIns="72000" tIns="144000">
            <a:spAutoFit/>
          </a:bodyPr>
          <a:lstStyle>
            <a:lvl1pPr marL="173250" marR="0" indent="-173250" algn="l" defTabSz="863375" rtl="0" eaLnBrk="1" fontAlgn="auto" latinLnBrk="0" hangingPunct="1">
              <a:lnSpc>
                <a:spcPct val="100000"/>
              </a:lnSpc>
              <a:spcBef>
                <a:spcPts val="364"/>
              </a:spcBef>
              <a:spcAft>
                <a:spcPts val="728"/>
              </a:spcAft>
              <a:buClrTx/>
              <a:buSzPct val="135000"/>
              <a:buFont typeface="Arial" panose="020B0604020202020204" pitchFamily="34" charset="0"/>
              <a:buChar char="•"/>
              <a:tabLst/>
              <a:defRPr sz="1213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1BD14AD-B080-A74B-BBD7-56AFEB3DF0D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85674" y="4509003"/>
            <a:ext cx="2008605" cy="354712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ts val="970"/>
              </a:lnSpc>
              <a:buNone/>
              <a:defRPr sz="133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4AAAB90-1DB8-C4E4-56E8-42EC78E012F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9498124" y="662164"/>
            <a:ext cx="2314143" cy="478643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334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00462867-A317-DD97-BD24-AC0044FA7D92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9498125" y="917804"/>
            <a:ext cx="2289137" cy="524567"/>
          </a:xfrm>
        </p:spPr>
        <p:txBody>
          <a:bodyPr wrap="square" lIns="0" tIns="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D700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DE59116-ACE0-88CE-13C8-A64DB7379893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9498124" y="2147997"/>
            <a:ext cx="2314143" cy="478643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334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7B24854F-8BDD-4FFF-8D97-3B9E34065DC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498125" y="2403637"/>
            <a:ext cx="2289137" cy="524567"/>
          </a:xfrm>
        </p:spPr>
        <p:txBody>
          <a:bodyPr wrap="square" lIns="0" tIns="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35000"/>
              <a:buFont typeface="Arial" panose="020B0604020202020204" pitchFamily="34" charset="0"/>
              <a:buChar char="•"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164D2C9-921D-EF62-77AC-858FCB9D421A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9498124" y="3530778"/>
            <a:ext cx="2314143" cy="478643"/>
          </a:xfrm>
        </p:spPr>
        <p:txBody>
          <a:bodyPr lIns="0" tIns="0" rIns="0" bIns="108000">
            <a:spAutoFit/>
          </a:bodyPr>
          <a:lstStyle>
            <a:lvl1pPr marL="0" indent="0">
              <a:buSzPct val="140000"/>
              <a:buFontTx/>
              <a:buNone/>
              <a:tabLst/>
              <a:defRPr sz="1334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9BD6C570-23D4-087E-5FC3-972369F1EF7C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498125" y="3786417"/>
            <a:ext cx="2289137" cy="524567"/>
          </a:xfrm>
        </p:spPr>
        <p:txBody>
          <a:bodyPr wrap="square" lIns="0" tIns="0" rIns="0" bIns="0">
            <a:spAutoFit/>
          </a:bodyPr>
          <a:lstStyle>
            <a:lvl1pPr marL="277200" marR="0" indent="-277200" algn="l" defTabSz="86337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1717"/>
              </a:buClr>
              <a:buSzPct val="110000"/>
              <a:buFont typeface="+mj-lt"/>
              <a:buAutoNum type="arabicPeriod"/>
              <a:tabLst/>
              <a:defRPr sz="1213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BBD80F-A823-DB0A-F8CB-B381D8246B33}"/>
              </a:ext>
            </a:extLst>
          </p:cNvPr>
          <p:cNvSpPr/>
          <p:nvPr userDrawn="1"/>
        </p:nvSpPr>
        <p:spPr>
          <a:xfrm>
            <a:off x="6663649" y="4491000"/>
            <a:ext cx="2052271" cy="19505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D4523E-E513-7D20-653F-04F55B4304F8}"/>
              </a:ext>
            </a:extLst>
          </p:cNvPr>
          <p:cNvSpPr/>
          <p:nvPr userDrawn="1"/>
        </p:nvSpPr>
        <p:spPr>
          <a:xfrm>
            <a:off x="6663649" y="4447340"/>
            <a:ext cx="2052271" cy="433164"/>
          </a:xfrm>
          <a:prstGeom prst="rect">
            <a:avLst/>
          </a:prstGeom>
          <a:solidFill>
            <a:srgbClr val="C2FF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958A098-F8A2-9F04-08F3-6D4ADFBFC0A7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6786843" y="4959578"/>
            <a:ext cx="1833944" cy="564880"/>
          </a:xfrm>
        </p:spPr>
        <p:txBody>
          <a:bodyPr vert="horz" wrap="square" lIns="72000" tIns="144000">
            <a:spAutoFit/>
          </a:bodyPr>
          <a:lstStyle>
            <a:lvl1pPr marL="173250" marR="0" indent="-173250" algn="l" defTabSz="863375" rtl="0" eaLnBrk="1" fontAlgn="auto" latinLnBrk="0" hangingPunct="1">
              <a:lnSpc>
                <a:spcPct val="100000"/>
              </a:lnSpc>
              <a:spcBef>
                <a:spcPts val="364"/>
              </a:spcBef>
              <a:spcAft>
                <a:spcPts val="728"/>
              </a:spcAft>
              <a:buClrTx/>
              <a:buSzPct val="135000"/>
              <a:buFont typeface="Arial" panose="020B0604020202020204" pitchFamily="34" charset="0"/>
              <a:buChar char="•"/>
              <a:tabLst/>
              <a:defRPr sz="1213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0799375-CAA1-05C9-CC5D-86052A5FA272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6677680" y="4511495"/>
            <a:ext cx="2008605" cy="354712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ts val="970"/>
              </a:lnSpc>
              <a:buNone/>
              <a:defRPr sz="133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34EF226-2E8F-227B-EFA7-14429B4B61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4634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WS Badge Page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6800151-AE97-7845-8B7C-D99B4ECBC5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276349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6800151-AE97-7845-8B7C-D99B4ECBC5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5323474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5B3F702E-48FC-0347-A381-77E10FAF125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1530" y="1559358"/>
            <a:ext cx="10909855" cy="22187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89"/>
              </a:lnSpc>
              <a:buFontTx/>
              <a:buNone/>
              <a:defRPr sz="1455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85EE5ECA-77D0-F046-B805-52E45E99FB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10908940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5305FA1-5BAA-9B00-9947-A8BD2505CFA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37833" y="2200111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D97E96F6-085E-93F0-E7E0-4F7DD5C9008C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206265" y="2200111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52B46FD3-B62C-1ACC-CCEB-A80EEA38F88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3774696" y="2200111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B1B3BB0D-489B-03E4-9C00-F203DCE192D0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343127" y="2200111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FAC2E0CB-252E-E459-C981-EA7C3659E889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911558" y="2200111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88554DB9-1F3A-B01F-42CC-F660731E00A3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479989" y="2200111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1050CE3D-5D2F-2E86-06A4-B0C5B72292F3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637833" y="4158449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A47AC8C9-6A7D-8493-5043-E10576A30804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2206265" y="4158449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C349C36A-9FFD-6A7E-641F-CC315A0C25C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774696" y="4158449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D4207CC1-B260-BDB1-26C6-3E8AC614B98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343127" y="4158449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80DF0353-6223-FCEE-D772-BCF3D4541330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6911558" y="4158449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001A288F-78C7-9F1A-D09F-56894D8B7F48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8479989" y="4158449"/>
            <a:ext cx="1501243" cy="1759286"/>
          </a:xfrm>
        </p:spPr>
        <p:txBody>
          <a:bodyPr>
            <a:normAutofit/>
          </a:bodyPr>
          <a:lstStyle>
            <a:lvl1pPr marL="0" indent="0" algn="ctr">
              <a:buNone/>
              <a:defRPr sz="1091">
                <a:solidFill>
                  <a:schemeClr val="bg1"/>
                </a:solidFill>
              </a:defRPr>
            </a:lvl1pPr>
          </a:lstStyle>
          <a:p>
            <a:r>
              <a:rPr lang="en-US"/>
              <a:t>Insert AWS badg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ECA05-D90A-B4CB-B95E-464EE4C5ECB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423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 with numbered list - Celeste">
    <p:bg>
      <p:bgPr>
        <a:solidFill>
          <a:srgbClr val="D4D3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412978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41" y="1588933"/>
            <a:ext cx="4534108" cy="20151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850" b="1" i="0" spc="-91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10790" y="1588932"/>
            <a:ext cx="5193844" cy="223932"/>
          </a:xfrm>
        </p:spPr>
        <p:txBody>
          <a:bodyPr wrap="square" lIns="0" tIns="0" rIns="0" bIns="0">
            <a:spAutoFit/>
          </a:bodyPr>
          <a:lstStyle>
            <a:lvl1pPr marL="311850" indent="-311850">
              <a:lnSpc>
                <a:spcPct val="100000"/>
              </a:lnSpc>
              <a:buClr>
                <a:srgbClr val="171717"/>
              </a:buClr>
              <a:buFont typeface="+mj-lt"/>
              <a:buAutoNum type="arabicPeriod"/>
              <a:defRPr sz="1455" b="0" i="0" u="none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CEA9EA5-8BAD-6F4D-B8F1-BDF49DAC0F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8251"/>
            <a:ext cx="1244575" cy="29179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554BC15-F614-A9C0-497C-F3C637D66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724" y="6314726"/>
            <a:ext cx="584423" cy="205121"/>
          </a:xfrm>
        </p:spPr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4" name="object 14">
            <a:extLst>
              <a:ext uri="{FF2B5EF4-FFF2-40B4-BE49-F238E27FC236}">
                <a16:creationId xmlns:a16="http://schemas.microsoft.com/office/drawing/2014/main" id="{187CF884-1887-A949-2F76-91EF959E5D9A}"/>
              </a:ext>
            </a:extLst>
          </p:cNvPr>
          <p:cNvSpPr/>
          <p:nvPr userDrawn="1"/>
        </p:nvSpPr>
        <p:spPr>
          <a:xfrm rot="10800000" flipH="1">
            <a:off x="5746678" y="1626138"/>
            <a:ext cx="28603" cy="3723884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31750">
            <a:solidFill>
              <a:srgbClr val="17171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67422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Logo Layout - 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6800151-AE97-7845-8B7C-D99B4ECBC5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649850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6800151-AE97-7845-8B7C-D99B4ECBC5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1530" y="1606495"/>
            <a:ext cx="2383692" cy="48949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455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5B3F702E-48FC-0347-A381-77E10FAF125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3771" y="2333094"/>
            <a:ext cx="2383692" cy="590785"/>
          </a:xfrm>
        </p:spPr>
        <p:txBody>
          <a:bodyPr wrap="square" lIns="0" tIns="144000" rIns="0" bIns="0">
            <a:spAutoFit/>
          </a:bodyPr>
          <a:lstStyle>
            <a:lvl1pPr marL="0" indent="0">
              <a:lnSpc>
                <a:spcPts val="1789"/>
              </a:lnSpc>
              <a:buFontTx/>
              <a:buNone/>
              <a:defRPr sz="1455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15190B7-F367-D54A-A485-7016F8810FF0}"/>
              </a:ext>
            </a:extLst>
          </p:cNvPr>
          <p:cNvSpPr/>
          <p:nvPr userDrawn="1"/>
        </p:nvSpPr>
        <p:spPr>
          <a:xfrm>
            <a:off x="3139212" y="1590093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7CD7C04-8886-E846-AF5F-005AC1C0D0F4}"/>
              </a:ext>
            </a:extLst>
          </p:cNvPr>
          <p:cNvSpPr/>
          <p:nvPr userDrawn="1"/>
        </p:nvSpPr>
        <p:spPr>
          <a:xfrm>
            <a:off x="5294649" y="1590093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5F1C24E-FD60-8142-8E7D-6BE349292BAC}"/>
              </a:ext>
            </a:extLst>
          </p:cNvPr>
          <p:cNvSpPr/>
          <p:nvPr userDrawn="1"/>
        </p:nvSpPr>
        <p:spPr>
          <a:xfrm>
            <a:off x="7450085" y="1590093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E79C296-6367-C643-822F-0C1C6717D96C}"/>
              </a:ext>
            </a:extLst>
          </p:cNvPr>
          <p:cNvSpPr/>
          <p:nvPr userDrawn="1"/>
        </p:nvSpPr>
        <p:spPr>
          <a:xfrm>
            <a:off x="9605521" y="1590093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7730408-CBB9-1E49-9C57-D69A73EC67CA}"/>
              </a:ext>
            </a:extLst>
          </p:cNvPr>
          <p:cNvSpPr/>
          <p:nvPr userDrawn="1"/>
        </p:nvSpPr>
        <p:spPr>
          <a:xfrm>
            <a:off x="3139212" y="3057663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B950E98-EFC8-8D4D-9265-ACB475388C57}"/>
              </a:ext>
            </a:extLst>
          </p:cNvPr>
          <p:cNvSpPr/>
          <p:nvPr userDrawn="1"/>
        </p:nvSpPr>
        <p:spPr>
          <a:xfrm>
            <a:off x="5294649" y="3057663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EF80F3B-3AF5-A14C-97D5-0AC1B12B4E32}"/>
              </a:ext>
            </a:extLst>
          </p:cNvPr>
          <p:cNvSpPr/>
          <p:nvPr userDrawn="1"/>
        </p:nvSpPr>
        <p:spPr>
          <a:xfrm>
            <a:off x="7450085" y="3057663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66E5DDC-333D-314B-A650-3499B47D7A76}"/>
              </a:ext>
            </a:extLst>
          </p:cNvPr>
          <p:cNvSpPr/>
          <p:nvPr userDrawn="1"/>
        </p:nvSpPr>
        <p:spPr>
          <a:xfrm>
            <a:off x="9605521" y="3057663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E6C7542-D037-0647-AAED-9E53E65AAF26}"/>
              </a:ext>
            </a:extLst>
          </p:cNvPr>
          <p:cNvSpPr/>
          <p:nvPr userDrawn="1"/>
        </p:nvSpPr>
        <p:spPr>
          <a:xfrm>
            <a:off x="3139212" y="4541538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1009067-E6C6-D546-B968-7C1893D5B347}"/>
              </a:ext>
            </a:extLst>
          </p:cNvPr>
          <p:cNvSpPr/>
          <p:nvPr userDrawn="1"/>
        </p:nvSpPr>
        <p:spPr>
          <a:xfrm>
            <a:off x="5294649" y="4541538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A97A04B-69CC-5746-ADA3-190DEA9EB232}"/>
              </a:ext>
            </a:extLst>
          </p:cNvPr>
          <p:cNvSpPr/>
          <p:nvPr userDrawn="1"/>
        </p:nvSpPr>
        <p:spPr>
          <a:xfrm>
            <a:off x="7450085" y="4541538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807B048-ACF0-674E-88EC-532AA162B7D6}"/>
              </a:ext>
            </a:extLst>
          </p:cNvPr>
          <p:cNvSpPr/>
          <p:nvPr userDrawn="1"/>
        </p:nvSpPr>
        <p:spPr>
          <a:xfrm>
            <a:off x="9605521" y="4541538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1F8EDD11-7283-FC89-2B8D-576EFAB451D4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3301419" y="1721928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5285A80-23BF-0EAF-13ED-F4FCAD55DDA9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5443265" y="1721928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E49A463-7ABC-79EE-0AB0-4131B73C4E63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7617729" y="1721928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A4BBB936-A634-0C82-8093-F8CEFD4848A9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9759575" y="1721928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EEA8FBC-E3BD-6BE2-1E37-7B0C7535F782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3301419" y="3178626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A7944802-6F42-4D19-D9B6-E92DFE0C1793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443265" y="3178626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1AAB7642-62DB-2C29-3680-102AF64CC732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617729" y="3178626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6AD25E6-06B2-88A2-A56D-C6A797ABC3E6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9759575" y="3178626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6C0B1AC5-E8FB-0A8B-3985-18EFDFC9CEBB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3301419" y="4678808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4E8608E-0E58-7E20-4021-811537A08321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5443265" y="4678808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9CB56420-CB72-EA17-8237-B336EE67A29C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617729" y="4678808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C22FF5E1-A323-8243-ACAC-5BF5540A0541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9759575" y="4678808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50695DD-04A9-0BF5-0BB3-610C4A32BE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2372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6800151-AE97-7845-8B7C-D99B4ECBC5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649850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6800151-AE97-7845-8B7C-D99B4ECBC5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15190B7-F367-D54A-A485-7016F8810FF0}"/>
              </a:ext>
            </a:extLst>
          </p:cNvPr>
          <p:cNvSpPr/>
          <p:nvPr userDrawn="1"/>
        </p:nvSpPr>
        <p:spPr>
          <a:xfrm>
            <a:off x="1581926" y="1590093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7CD7C04-8886-E846-AF5F-005AC1C0D0F4}"/>
              </a:ext>
            </a:extLst>
          </p:cNvPr>
          <p:cNvSpPr/>
          <p:nvPr userDrawn="1"/>
        </p:nvSpPr>
        <p:spPr>
          <a:xfrm>
            <a:off x="4540493" y="1590093"/>
            <a:ext cx="2518011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5F1C24E-FD60-8142-8E7D-6BE349292BAC}"/>
              </a:ext>
            </a:extLst>
          </p:cNvPr>
          <p:cNvSpPr/>
          <p:nvPr userDrawn="1"/>
        </p:nvSpPr>
        <p:spPr>
          <a:xfrm>
            <a:off x="7515610" y="1590093"/>
            <a:ext cx="2518011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7730408-CBB9-1E49-9C57-D69A73EC67CA}"/>
              </a:ext>
            </a:extLst>
          </p:cNvPr>
          <p:cNvSpPr/>
          <p:nvPr userDrawn="1"/>
        </p:nvSpPr>
        <p:spPr>
          <a:xfrm>
            <a:off x="1581926" y="3057663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B950E98-EFC8-8D4D-9265-ACB475388C57}"/>
              </a:ext>
            </a:extLst>
          </p:cNvPr>
          <p:cNvSpPr/>
          <p:nvPr userDrawn="1"/>
        </p:nvSpPr>
        <p:spPr>
          <a:xfrm>
            <a:off x="4540493" y="3057663"/>
            <a:ext cx="2518011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EF80F3B-3AF5-A14C-97D5-0AC1B12B4E32}"/>
              </a:ext>
            </a:extLst>
          </p:cNvPr>
          <p:cNvSpPr/>
          <p:nvPr userDrawn="1"/>
        </p:nvSpPr>
        <p:spPr>
          <a:xfrm>
            <a:off x="7515610" y="3057663"/>
            <a:ext cx="2518011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E6C7542-D037-0647-AAED-9E53E65AAF26}"/>
              </a:ext>
            </a:extLst>
          </p:cNvPr>
          <p:cNvSpPr/>
          <p:nvPr userDrawn="1"/>
        </p:nvSpPr>
        <p:spPr>
          <a:xfrm>
            <a:off x="1581926" y="4541538"/>
            <a:ext cx="1957073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1009067-E6C6-D546-B968-7C1893D5B347}"/>
              </a:ext>
            </a:extLst>
          </p:cNvPr>
          <p:cNvSpPr/>
          <p:nvPr userDrawn="1"/>
        </p:nvSpPr>
        <p:spPr>
          <a:xfrm>
            <a:off x="4540493" y="4541538"/>
            <a:ext cx="2518011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A97A04B-69CC-5746-ADA3-190DEA9EB232}"/>
              </a:ext>
            </a:extLst>
          </p:cNvPr>
          <p:cNvSpPr/>
          <p:nvPr userDrawn="1"/>
        </p:nvSpPr>
        <p:spPr>
          <a:xfrm>
            <a:off x="7515610" y="4541538"/>
            <a:ext cx="2518011" cy="12714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1F8EDD11-7283-FC89-2B8D-576EFAB451D4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1744133" y="1721928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5285A80-23BF-0EAF-13ED-F4FCAD55DDA9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4689109" y="1721928"/>
            <a:ext cx="207868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E49A463-7ABC-79EE-0AB0-4131B73C4E63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7683253" y="1721928"/>
            <a:ext cx="207868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EEA8FBC-E3BD-6BE2-1E37-7B0C7535F782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1744133" y="3178626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A7944802-6F42-4D19-D9B6-E92DFE0C1793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4689109" y="3178626"/>
            <a:ext cx="207868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1AAB7642-62DB-2C29-3680-102AF64CC732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7683253" y="3178626"/>
            <a:ext cx="207868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6C0B1AC5-E8FB-0A8B-3985-18EFDFC9CEBB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1744133" y="4678808"/>
            <a:ext cx="161561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4E8608E-0E58-7E20-4021-811537A08321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4689109" y="4678808"/>
            <a:ext cx="207868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9CB56420-CB72-EA17-8237-B336EE67A29C}"/>
              </a:ext>
            </a:extLst>
          </p:cNvPr>
          <p:cNvSpPr>
            <a:spLocks noGrp="1"/>
          </p:cNvSpPr>
          <p:nvPr>
            <p:ph sz="quarter" idx="52" hasCustomPrompt="1"/>
          </p:nvPr>
        </p:nvSpPr>
        <p:spPr>
          <a:xfrm>
            <a:off x="7683253" y="4678808"/>
            <a:ext cx="2078687" cy="1008519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E1B85B0-9224-BBD0-D92D-D25412425F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0064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 Logo Layout - 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6800151-AE97-7845-8B7C-D99B4ECBC5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5568831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6800151-AE97-7845-8B7C-D99B4ECBC5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A24BA77-61F3-FD4A-879F-51FC3762C6EA}"/>
              </a:ext>
            </a:extLst>
          </p:cNvPr>
          <p:cNvSpPr/>
          <p:nvPr userDrawn="1"/>
        </p:nvSpPr>
        <p:spPr>
          <a:xfrm>
            <a:off x="636031" y="157373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3573D06-1665-894B-82E6-1521DF786CCB}"/>
              </a:ext>
            </a:extLst>
          </p:cNvPr>
          <p:cNvSpPr/>
          <p:nvPr userDrawn="1"/>
        </p:nvSpPr>
        <p:spPr>
          <a:xfrm>
            <a:off x="2011768" y="157373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F9D2D90-E5CA-0148-B8B4-0B750F1A63E3}"/>
              </a:ext>
            </a:extLst>
          </p:cNvPr>
          <p:cNvSpPr/>
          <p:nvPr userDrawn="1"/>
        </p:nvSpPr>
        <p:spPr>
          <a:xfrm>
            <a:off x="4763240" y="157373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7D22EE8-5993-BD4F-B615-443D53B7164D}"/>
              </a:ext>
            </a:extLst>
          </p:cNvPr>
          <p:cNvSpPr/>
          <p:nvPr userDrawn="1"/>
        </p:nvSpPr>
        <p:spPr>
          <a:xfrm>
            <a:off x="6138977" y="157373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0655C23-2D98-D746-9FC1-C6A8AC7BDB53}"/>
              </a:ext>
            </a:extLst>
          </p:cNvPr>
          <p:cNvSpPr/>
          <p:nvPr userDrawn="1"/>
        </p:nvSpPr>
        <p:spPr>
          <a:xfrm>
            <a:off x="7514713" y="157373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92CFDEB-4687-1C4B-9AEC-1F5AA9D639FB}"/>
              </a:ext>
            </a:extLst>
          </p:cNvPr>
          <p:cNvSpPr/>
          <p:nvPr userDrawn="1"/>
        </p:nvSpPr>
        <p:spPr>
          <a:xfrm>
            <a:off x="8890449" y="157373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FF447931-933B-5B40-A30B-BD6C6E5AE1AA}"/>
              </a:ext>
            </a:extLst>
          </p:cNvPr>
          <p:cNvSpPr/>
          <p:nvPr userDrawn="1"/>
        </p:nvSpPr>
        <p:spPr>
          <a:xfrm>
            <a:off x="10266185" y="157373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6ADFF2E-4275-C940-B6D2-731D7E75AE1D}"/>
              </a:ext>
            </a:extLst>
          </p:cNvPr>
          <p:cNvSpPr/>
          <p:nvPr userDrawn="1"/>
        </p:nvSpPr>
        <p:spPr>
          <a:xfrm>
            <a:off x="10266185" y="249503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1E51FDA4-4A40-DF4F-B21D-E463BF7BCE80}"/>
              </a:ext>
            </a:extLst>
          </p:cNvPr>
          <p:cNvSpPr/>
          <p:nvPr userDrawn="1"/>
        </p:nvSpPr>
        <p:spPr>
          <a:xfrm>
            <a:off x="10266185" y="3405474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EE6A73E3-E75D-DE4B-A0F6-E6F7DA5ED192}"/>
              </a:ext>
            </a:extLst>
          </p:cNvPr>
          <p:cNvSpPr/>
          <p:nvPr userDrawn="1"/>
        </p:nvSpPr>
        <p:spPr>
          <a:xfrm>
            <a:off x="10266185" y="431591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84D71C77-EDD9-9B4C-9140-FF5E66761BF3}"/>
              </a:ext>
            </a:extLst>
          </p:cNvPr>
          <p:cNvSpPr/>
          <p:nvPr userDrawn="1"/>
        </p:nvSpPr>
        <p:spPr>
          <a:xfrm>
            <a:off x="10266185" y="522634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C24330D4-D684-5B44-BC4E-15703A53DB7B}"/>
              </a:ext>
            </a:extLst>
          </p:cNvPr>
          <p:cNvSpPr/>
          <p:nvPr userDrawn="1"/>
        </p:nvSpPr>
        <p:spPr>
          <a:xfrm>
            <a:off x="8888119" y="249503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133FF377-29A9-6D4A-8402-B3E4CA4370B5}"/>
              </a:ext>
            </a:extLst>
          </p:cNvPr>
          <p:cNvSpPr/>
          <p:nvPr userDrawn="1"/>
        </p:nvSpPr>
        <p:spPr>
          <a:xfrm>
            <a:off x="8888119" y="3405474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B12CF671-32F0-2847-B187-3E95A182B8B4}"/>
              </a:ext>
            </a:extLst>
          </p:cNvPr>
          <p:cNvSpPr/>
          <p:nvPr userDrawn="1"/>
        </p:nvSpPr>
        <p:spPr>
          <a:xfrm>
            <a:off x="8888119" y="431591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44C21014-3A0A-4A4D-8D89-5F846E7C55A1}"/>
              </a:ext>
            </a:extLst>
          </p:cNvPr>
          <p:cNvSpPr/>
          <p:nvPr userDrawn="1"/>
        </p:nvSpPr>
        <p:spPr>
          <a:xfrm>
            <a:off x="8888119" y="522634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38A6F50F-BF5E-7948-AC0C-35A7039449BC}"/>
              </a:ext>
            </a:extLst>
          </p:cNvPr>
          <p:cNvSpPr/>
          <p:nvPr userDrawn="1"/>
        </p:nvSpPr>
        <p:spPr>
          <a:xfrm>
            <a:off x="7510053" y="249503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0F66747E-FD59-E74A-A390-3FD36E6452D6}"/>
              </a:ext>
            </a:extLst>
          </p:cNvPr>
          <p:cNvSpPr/>
          <p:nvPr userDrawn="1"/>
        </p:nvSpPr>
        <p:spPr>
          <a:xfrm>
            <a:off x="7510053" y="3405474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1B2F6224-67FE-904C-BF9B-D073712269CA}"/>
              </a:ext>
            </a:extLst>
          </p:cNvPr>
          <p:cNvSpPr/>
          <p:nvPr userDrawn="1"/>
        </p:nvSpPr>
        <p:spPr>
          <a:xfrm>
            <a:off x="7510053" y="431591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74178B95-4333-D142-B6C0-5FAC9B1C0D76}"/>
              </a:ext>
            </a:extLst>
          </p:cNvPr>
          <p:cNvSpPr/>
          <p:nvPr userDrawn="1"/>
        </p:nvSpPr>
        <p:spPr>
          <a:xfrm>
            <a:off x="7510053" y="522634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B9C3E86-2D15-1F46-B7CC-7DD7B5148D67}"/>
              </a:ext>
            </a:extLst>
          </p:cNvPr>
          <p:cNvSpPr/>
          <p:nvPr userDrawn="1"/>
        </p:nvSpPr>
        <p:spPr>
          <a:xfrm>
            <a:off x="6140141" y="249503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32EE740-D118-054A-BECC-2CE70D6E6643}"/>
              </a:ext>
            </a:extLst>
          </p:cNvPr>
          <p:cNvSpPr/>
          <p:nvPr userDrawn="1"/>
        </p:nvSpPr>
        <p:spPr>
          <a:xfrm>
            <a:off x="6140141" y="3405474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D52CB40F-60D4-D74B-BDC9-2BF53D526971}"/>
              </a:ext>
            </a:extLst>
          </p:cNvPr>
          <p:cNvSpPr/>
          <p:nvPr userDrawn="1"/>
        </p:nvSpPr>
        <p:spPr>
          <a:xfrm>
            <a:off x="6140141" y="431591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DB22878F-4DBA-7446-A848-1242157944DB}"/>
              </a:ext>
            </a:extLst>
          </p:cNvPr>
          <p:cNvSpPr/>
          <p:nvPr userDrawn="1"/>
        </p:nvSpPr>
        <p:spPr>
          <a:xfrm>
            <a:off x="6140141" y="522634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4BB7075F-FB20-3343-B602-2075BEDDF332}"/>
              </a:ext>
            </a:extLst>
          </p:cNvPr>
          <p:cNvSpPr/>
          <p:nvPr userDrawn="1"/>
        </p:nvSpPr>
        <p:spPr>
          <a:xfrm>
            <a:off x="4762075" y="249503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D9FB73C8-0B20-A646-B93C-6B3F96760F47}"/>
              </a:ext>
            </a:extLst>
          </p:cNvPr>
          <p:cNvSpPr/>
          <p:nvPr userDrawn="1"/>
        </p:nvSpPr>
        <p:spPr>
          <a:xfrm>
            <a:off x="4762075" y="3405474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2EDB52A5-BC9F-6947-B133-5D634DECD870}"/>
              </a:ext>
            </a:extLst>
          </p:cNvPr>
          <p:cNvSpPr/>
          <p:nvPr userDrawn="1"/>
        </p:nvSpPr>
        <p:spPr>
          <a:xfrm>
            <a:off x="4762075" y="431591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39A51EC4-05C6-3B43-8B02-92BD38FBD1A8}"/>
              </a:ext>
            </a:extLst>
          </p:cNvPr>
          <p:cNvSpPr/>
          <p:nvPr userDrawn="1"/>
        </p:nvSpPr>
        <p:spPr>
          <a:xfrm>
            <a:off x="4762075" y="522634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7ADF5B43-43A5-744F-932C-6D6A90004D55}"/>
              </a:ext>
            </a:extLst>
          </p:cNvPr>
          <p:cNvSpPr/>
          <p:nvPr userDrawn="1"/>
        </p:nvSpPr>
        <p:spPr>
          <a:xfrm>
            <a:off x="3384009" y="249503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1169C415-F7A6-6A46-A4E9-A811B97F9F37}"/>
              </a:ext>
            </a:extLst>
          </p:cNvPr>
          <p:cNvSpPr/>
          <p:nvPr userDrawn="1"/>
        </p:nvSpPr>
        <p:spPr>
          <a:xfrm>
            <a:off x="3384009" y="3405474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AFE6520B-0EB8-894C-BF56-92279F300646}"/>
              </a:ext>
            </a:extLst>
          </p:cNvPr>
          <p:cNvSpPr/>
          <p:nvPr userDrawn="1"/>
        </p:nvSpPr>
        <p:spPr>
          <a:xfrm>
            <a:off x="3384009" y="431591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C722D527-F515-BB43-841E-7B4A309050E4}"/>
              </a:ext>
            </a:extLst>
          </p:cNvPr>
          <p:cNvSpPr/>
          <p:nvPr userDrawn="1"/>
        </p:nvSpPr>
        <p:spPr>
          <a:xfrm>
            <a:off x="3384009" y="522634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692F14E2-1A85-AA40-ADF2-526C838A0876}"/>
              </a:ext>
            </a:extLst>
          </p:cNvPr>
          <p:cNvSpPr/>
          <p:nvPr userDrawn="1"/>
        </p:nvSpPr>
        <p:spPr>
          <a:xfrm>
            <a:off x="2005943" y="249503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7AF0D5AC-E751-194B-A82C-EFEFF73A176D}"/>
              </a:ext>
            </a:extLst>
          </p:cNvPr>
          <p:cNvSpPr/>
          <p:nvPr userDrawn="1"/>
        </p:nvSpPr>
        <p:spPr>
          <a:xfrm>
            <a:off x="2005943" y="3405474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5BCD465A-7CD9-C34D-A812-629E8F83A58F}"/>
              </a:ext>
            </a:extLst>
          </p:cNvPr>
          <p:cNvSpPr/>
          <p:nvPr userDrawn="1"/>
        </p:nvSpPr>
        <p:spPr>
          <a:xfrm>
            <a:off x="2005943" y="431591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CB28E266-F3CA-AE40-A791-E6D19E7FB98B}"/>
              </a:ext>
            </a:extLst>
          </p:cNvPr>
          <p:cNvSpPr/>
          <p:nvPr userDrawn="1"/>
        </p:nvSpPr>
        <p:spPr>
          <a:xfrm>
            <a:off x="2005943" y="522634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E9DF5DB9-76CB-534E-B1C8-DCC2948E0129}"/>
              </a:ext>
            </a:extLst>
          </p:cNvPr>
          <p:cNvSpPr/>
          <p:nvPr userDrawn="1"/>
        </p:nvSpPr>
        <p:spPr>
          <a:xfrm>
            <a:off x="636031" y="249503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C4B60420-8D82-2245-9092-2D3FB8B65C3F}"/>
              </a:ext>
            </a:extLst>
          </p:cNvPr>
          <p:cNvSpPr/>
          <p:nvPr userDrawn="1"/>
        </p:nvSpPr>
        <p:spPr>
          <a:xfrm>
            <a:off x="636031" y="3405474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9984A2A1-BA65-C94F-B454-07608BBB8E8D}"/>
              </a:ext>
            </a:extLst>
          </p:cNvPr>
          <p:cNvSpPr/>
          <p:nvPr userDrawn="1"/>
        </p:nvSpPr>
        <p:spPr>
          <a:xfrm>
            <a:off x="636031" y="431591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9253936A-6003-9D45-935B-92CAB74ACC45}"/>
              </a:ext>
            </a:extLst>
          </p:cNvPr>
          <p:cNvSpPr/>
          <p:nvPr userDrawn="1"/>
        </p:nvSpPr>
        <p:spPr>
          <a:xfrm>
            <a:off x="636031" y="5226348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E6FBB6-07F3-7A10-428C-79B88F10921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7868" y="1587698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A1A606E-8170-872D-758A-623CC593694C}"/>
              </a:ext>
            </a:extLst>
          </p:cNvPr>
          <p:cNvSpPr/>
          <p:nvPr userDrawn="1"/>
        </p:nvSpPr>
        <p:spPr>
          <a:xfrm>
            <a:off x="3384009" y="1573731"/>
            <a:ext cx="1287984" cy="829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91" name="Content Placeholder 3">
            <a:extLst>
              <a:ext uri="{FF2B5EF4-FFF2-40B4-BE49-F238E27FC236}">
                <a16:creationId xmlns:a16="http://schemas.microsoft.com/office/drawing/2014/main" id="{A0DA4333-D75D-0C6F-177C-B033066D73D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53998" y="1587698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92" name="Content Placeholder 3">
            <a:extLst>
              <a:ext uri="{FF2B5EF4-FFF2-40B4-BE49-F238E27FC236}">
                <a16:creationId xmlns:a16="http://schemas.microsoft.com/office/drawing/2014/main" id="{0405DF74-D979-E48C-1754-04AE05DED50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428164" y="1587698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93" name="Content Placeholder 3">
            <a:extLst>
              <a:ext uri="{FF2B5EF4-FFF2-40B4-BE49-F238E27FC236}">
                <a16:creationId xmlns:a16="http://schemas.microsoft.com/office/drawing/2014/main" id="{9E74D175-5276-14C8-658C-3B3F9EC063B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24359" y="1587698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94" name="Content Placeholder 3">
            <a:extLst>
              <a:ext uri="{FF2B5EF4-FFF2-40B4-BE49-F238E27FC236}">
                <a16:creationId xmlns:a16="http://schemas.microsoft.com/office/drawing/2014/main" id="{22D94E02-7143-40F9-AA29-40C3355F6D8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90814" y="1587698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95" name="Content Placeholder 3">
            <a:extLst>
              <a:ext uri="{FF2B5EF4-FFF2-40B4-BE49-F238E27FC236}">
                <a16:creationId xmlns:a16="http://schemas.microsoft.com/office/drawing/2014/main" id="{5AEC1C61-14E3-25A3-BBF0-14F51940C26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561890" y="1587698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97" name="Content Placeholder 3">
            <a:extLst>
              <a:ext uri="{FF2B5EF4-FFF2-40B4-BE49-F238E27FC236}">
                <a16:creationId xmlns:a16="http://schemas.microsoft.com/office/drawing/2014/main" id="{6B35FBA9-2F87-7AA5-D6A1-E254B0802C9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939956" y="1587698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99" name="Content Placeholder 3">
            <a:extLst>
              <a:ext uri="{FF2B5EF4-FFF2-40B4-BE49-F238E27FC236}">
                <a16:creationId xmlns:a16="http://schemas.microsoft.com/office/drawing/2014/main" id="{3D812ECB-B7BF-0B23-75AD-42A3DE5FCF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312988" y="1587698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01" name="Content Placeholder 3">
            <a:extLst>
              <a:ext uri="{FF2B5EF4-FFF2-40B4-BE49-F238E27FC236}">
                <a16:creationId xmlns:a16="http://schemas.microsoft.com/office/drawing/2014/main" id="{24DE942E-656D-CF55-1714-EECF7F555E1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87868" y="2511723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03" name="Content Placeholder 3">
            <a:extLst>
              <a:ext uri="{FF2B5EF4-FFF2-40B4-BE49-F238E27FC236}">
                <a16:creationId xmlns:a16="http://schemas.microsoft.com/office/drawing/2014/main" id="{1EB553AC-CAB6-14D5-46C4-ED02B07545C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053998" y="2511723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05" name="Content Placeholder 3">
            <a:extLst>
              <a:ext uri="{FF2B5EF4-FFF2-40B4-BE49-F238E27FC236}">
                <a16:creationId xmlns:a16="http://schemas.microsoft.com/office/drawing/2014/main" id="{3273EB6F-E5EA-1FDC-38EE-30C0D0D66A2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28164" y="2511723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07" name="Content Placeholder 3">
            <a:extLst>
              <a:ext uri="{FF2B5EF4-FFF2-40B4-BE49-F238E27FC236}">
                <a16:creationId xmlns:a16="http://schemas.microsoft.com/office/drawing/2014/main" id="{A9F1B85B-A867-158A-B4BF-AA35C37A070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824359" y="2511723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09" name="Content Placeholder 3">
            <a:extLst>
              <a:ext uri="{FF2B5EF4-FFF2-40B4-BE49-F238E27FC236}">
                <a16:creationId xmlns:a16="http://schemas.microsoft.com/office/drawing/2014/main" id="{9EC3F97C-4759-904D-95EF-7FC484E17FC1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0814" y="2511723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10" name="Content Placeholder 3">
            <a:extLst>
              <a:ext uri="{FF2B5EF4-FFF2-40B4-BE49-F238E27FC236}">
                <a16:creationId xmlns:a16="http://schemas.microsoft.com/office/drawing/2014/main" id="{AE9F1EC5-3378-0275-3D56-5DBE4E58817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561890" y="2511723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11" name="Content Placeholder 3">
            <a:extLst>
              <a:ext uri="{FF2B5EF4-FFF2-40B4-BE49-F238E27FC236}">
                <a16:creationId xmlns:a16="http://schemas.microsoft.com/office/drawing/2014/main" id="{E3D64C30-F32D-73A5-DEF2-13425D468E1C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939956" y="2511723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12" name="Content Placeholder 3">
            <a:extLst>
              <a:ext uri="{FF2B5EF4-FFF2-40B4-BE49-F238E27FC236}">
                <a16:creationId xmlns:a16="http://schemas.microsoft.com/office/drawing/2014/main" id="{75454949-6F67-4578-1085-033B980C2B0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10312988" y="2511723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13" name="Content Placeholder 3">
            <a:extLst>
              <a:ext uri="{FF2B5EF4-FFF2-40B4-BE49-F238E27FC236}">
                <a16:creationId xmlns:a16="http://schemas.microsoft.com/office/drawing/2014/main" id="{475D1ADC-BF20-111A-2E1C-FDEBC299B291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87868" y="3414007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14" name="Content Placeholder 3">
            <a:extLst>
              <a:ext uri="{FF2B5EF4-FFF2-40B4-BE49-F238E27FC236}">
                <a16:creationId xmlns:a16="http://schemas.microsoft.com/office/drawing/2014/main" id="{B251FB81-65DC-F16E-ADAE-7E479CDFE19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2053998" y="3414007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15" name="Content Placeholder 3">
            <a:extLst>
              <a:ext uri="{FF2B5EF4-FFF2-40B4-BE49-F238E27FC236}">
                <a16:creationId xmlns:a16="http://schemas.microsoft.com/office/drawing/2014/main" id="{5FCBB05E-75E9-2D85-4FE4-A19DC5E048F5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428164" y="3414007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16" name="Content Placeholder 3">
            <a:extLst>
              <a:ext uri="{FF2B5EF4-FFF2-40B4-BE49-F238E27FC236}">
                <a16:creationId xmlns:a16="http://schemas.microsoft.com/office/drawing/2014/main" id="{52B14EB9-FAFA-FA85-4485-06290397DC15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4824359" y="3414007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17" name="Content Placeholder 3">
            <a:extLst>
              <a:ext uri="{FF2B5EF4-FFF2-40B4-BE49-F238E27FC236}">
                <a16:creationId xmlns:a16="http://schemas.microsoft.com/office/drawing/2014/main" id="{BDB7891C-21B7-704F-D0ED-720342633797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190814" y="3414007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18" name="Content Placeholder 3">
            <a:extLst>
              <a:ext uri="{FF2B5EF4-FFF2-40B4-BE49-F238E27FC236}">
                <a16:creationId xmlns:a16="http://schemas.microsoft.com/office/drawing/2014/main" id="{1D8211A5-DDA2-E3EF-A254-91B4E878FCB5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7561890" y="3414007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19" name="Content Placeholder 3">
            <a:extLst>
              <a:ext uri="{FF2B5EF4-FFF2-40B4-BE49-F238E27FC236}">
                <a16:creationId xmlns:a16="http://schemas.microsoft.com/office/drawing/2014/main" id="{568BF4FA-52B9-8991-C2D2-AE92077195C8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939956" y="3414007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20" name="Content Placeholder 3">
            <a:extLst>
              <a:ext uri="{FF2B5EF4-FFF2-40B4-BE49-F238E27FC236}">
                <a16:creationId xmlns:a16="http://schemas.microsoft.com/office/drawing/2014/main" id="{B4A8B59D-18B1-F3C0-DD9C-5992820E91F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10312988" y="3414007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21" name="Content Placeholder 3">
            <a:extLst>
              <a:ext uri="{FF2B5EF4-FFF2-40B4-BE49-F238E27FC236}">
                <a16:creationId xmlns:a16="http://schemas.microsoft.com/office/drawing/2014/main" id="{E3F3810C-9704-E2DE-F5A6-7D45EF4B3A7D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687868" y="4316291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22" name="Content Placeholder 3">
            <a:extLst>
              <a:ext uri="{FF2B5EF4-FFF2-40B4-BE49-F238E27FC236}">
                <a16:creationId xmlns:a16="http://schemas.microsoft.com/office/drawing/2014/main" id="{45A2DF8C-9076-4271-3712-46D5221EBF02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2053998" y="4316291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23" name="Content Placeholder 3">
            <a:extLst>
              <a:ext uri="{FF2B5EF4-FFF2-40B4-BE49-F238E27FC236}">
                <a16:creationId xmlns:a16="http://schemas.microsoft.com/office/drawing/2014/main" id="{F2389D72-A622-C97D-365F-AA4B71EB3B02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3428164" y="4316291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25" name="Content Placeholder 3">
            <a:extLst>
              <a:ext uri="{FF2B5EF4-FFF2-40B4-BE49-F238E27FC236}">
                <a16:creationId xmlns:a16="http://schemas.microsoft.com/office/drawing/2014/main" id="{C06C57B2-586C-B314-D728-61323882200F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4824359" y="4316291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26" name="Content Placeholder 3">
            <a:extLst>
              <a:ext uri="{FF2B5EF4-FFF2-40B4-BE49-F238E27FC236}">
                <a16:creationId xmlns:a16="http://schemas.microsoft.com/office/drawing/2014/main" id="{8B78F2E2-5319-337A-870C-F38EB451C30D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6190814" y="4316291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27" name="Content Placeholder 3">
            <a:extLst>
              <a:ext uri="{FF2B5EF4-FFF2-40B4-BE49-F238E27FC236}">
                <a16:creationId xmlns:a16="http://schemas.microsoft.com/office/drawing/2014/main" id="{573C66D6-0D90-4C97-2365-FAC335FE14A8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7561890" y="4316291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28" name="Content Placeholder 3">
            <a:extLst>
              <a:ext uri="{FF2B5EF4-FFF2-40B4-BE49-F238E27FC236}">
                <a16:creationId xmlns:a16="http://schemas.microsoft.com/office/drawing/2014/main" id="{EBDB0B3A-B9DD-12D6-FEA7-13A06FA14D4E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8939956" y="4316291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29" name="Content Placeholder 3">
            <a:extLst>
              <a:ext uri="{FF2B5EF4-FFF2-40B4-BE49-F238E27FC236}">
                <a16:creationId xmlns:a16="http://schemas.microsoft.com/office/drawing/2014/main" id="{BC6F70C6-82B6-BEA9-C85F-A80DFBE8AE37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10312988" y="4316291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30" name="Content Placeholder 3">
            <a:extLst>
              <a:ext uri="{FF2B5EF4-FFF2-40B4-BE49-F238E27FC236}">
                <a16:creationId xmlns:a16="http://schemas.microsoft.com/office/drawing/2014/main" id="{09EAFE04-6B5C-B3F0-3940-2A0E88F04AF7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687868" y="5229445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31" name="Content Placeholder 3">
            <a:extLst>
              <a:ext uri="{FF2B5EF4-FFF2-40B4-BE49-F238E27FC236}">
                <a16:creationId xmlns:a16="http://schemas.microsoft.com/office/drawing/2014/main" id="{B423F325-BEDF-9881-E829-828EBD3747EA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2053998" y="5229445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32" name="Content Placeholder 3">
            <a:extLst>
              <a:ext uri="{FF2B5EF4-FFF2-40B4-BE49-F238E27FC236}">
                <a16:creationId xmlns:a16="http://schemas.microsoft.com/office/drawing/2014/main" id="{274E72F5-339D-B62A-4976-AF83B9AB2464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3428164" y="5229445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33" name="Content Placeholder 3">
            <a:extLst>
              <a:ext uri="{FF2B5EF4-FFF2-40B4-BE49-F238E27FC236}">
                <a16:creationId xmlns:a16="http://schemas.microsoft.com/office/drawing/2014/main" id="{534B8162-CAF2-7BAA-6908-A74BC76FC897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4824359" y="5229445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34" name="Content Placeholder 3">
            <a:extLst>
              <a:ext uri="{FF2B5EF4-FFF2-40B4-BE49-F238E27FC236}">
                <a16:creationId xmlns:a16="http://schemas.microsoft.com/office/drawing/2014/main" id="{49AF001E-C3D2-7F16-D708-1A2C66A236CC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6190814" y="5229445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35" name="Content Placeholder 3">
            <a:extLst>
              <a:ext uri="{FF2B5EF4-FFF2-40B4-BE49-F238E27FC236}">
                <a16:creationId xmlns:a16="http://schemas.microsoft.com/office/drawing/2014/main" id="{4A87CFE2-487C-53B0-F90C-11C686CBBF2C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7561890" y="5229445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36" name="Content Placeholder 3">
            <a:extLst>
              <a:ext uri="{FF2B5EF4-FFF2-40B4-BE49-F238E27FC236}">
                <a16:creationId xmlns:a16="http://schemas.microsoft.com/office/drawing/2014/main" id="{45112AFA-EF39-6A3C-8EC2-83D5E0DA313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8939956" y="5229445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sp>
        <p:nvSpPr>
          <p:cNvPr id="137" name="Content Placeholder 3">
            <a:extLst>
              <a:ext uri="{FF2B5EF4-FFF2-40B4-BE49-F238E27FC236}">
                <a16:creationId xmlns:a16="http://schemas.microsoft.com/office/drawing/2014/main" id="{B50567FF-28BC-D0BF-788A-0965AB92AFE7}"/>
              </a:ext>
            </a:extLst>
          </p:cNvPr>
          <p:cNvSpPr>
            <a:spLocks noGrp="1"/>
          </p:cNvSpPr>
          <p:nvPr>
            <p:ph sz="quarter" idx="49" hasCustomPrompt="1"/>
          </p:nvPr>
        </p:nvSpPr>
        <p:spPr>
          <a:xfrm>
            <a:off x="10312988" y="5229445"/>
            <a:ext cx="1184310" cy="8015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849"/>
            </a:lvl1pPr>
          </a:lstStyle>
          <a:p>
            <a:pPr lvl="0"/>
            <a:r>
              <a:rPr lang="en-US" sz="849"/>
              <a:t>Add logo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27CCB41-180D-B29E-F508-3A1C208D98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5480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testimonial 1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908602"/>
            <a:ext cx="4799386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4799386" cy="8312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3290053"/>
            <a:ext cx="4799386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E60C519-B1D7-DB41-B90E-08D7C2F718C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98739" y="644255"/>
            <a:ext cx="1684642" cy="1675032"/>
          </a:xfrm>
          <a:solidFill>
            <a:srgbClr val="D6D6D6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91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add customer picture</a:t>
            </a:r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7B82A743-FBBC-E242-9B14-2C89831060C1}"/>
              </a:ext>
            </a:extLst>
          </p:cNvPr>
          <p:cNvSpPr/>
          <p:nvPr userDrawn="1"/>
        </p:nvSpPr>
        <p:spPr>
          <a:xfrm>
            <a:off x="6920953" y="2609299"/>
            <a:ext cx="0" cy="2263862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25400">
            <a:solidFill>
              <a:srgbClr val="00D7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9672AC62-3399-9E45-B198-06B7589DB6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98739" y="2548022"/>
            <a:ext cx="4451730" cy="1703465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183" b="0" i="0" spc="-12" baseline="0">
                <a:solidFill>
                  <a:schemeClr val="bg1">
                    <a:alpha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“Click to edit customer quote.”</a:t>
            </a:r>
            <a:endParaRPr lang="en-US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40FBAB18-4A49-F645-9A97-11C16E7F88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8603" y="4260932"/>
            <a:ext cx="2925499" cy="416950"/>
          </a:xfrm>
        </p:spPr>
        <p:txBody>
          <a:bodyPr wrap="square" lIns="0" tIns="180000" rIns="0" bIns="0">
            <a:spAutoFit/>
          </a:bodyPr>
          <a:lstStyle>
            <a:lvl1pPr marL="0" indent="0">
              <a:buNone/>
              <a:defRPr sz="1698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Add Customer Name,</a:t>
            </a:r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28A6356C-736E-904F-8F6E-65DAF74CB3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153" y="4615709"/>
            <a:ext cx="2929352" cy="264636"/>
          </a:xfrm>
          <a:ln>
            <a:solidFill>
              <a:srgbClr val="00FF00"/>
            </a:solidFill>
          </a:ln>
        </p:spPr>
        <p:txBody>
          <a:bodyPr lIns="0" tIns="36000" rIns="0" bIns="0">
            <a:noAutofit/>
          </a:bodyPr>
          <a:lstStyle>
            <a:lvl1pPr marL="0" indent="0">
              <a:buNone/>
              <a:defRPr sz="1213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>
              <a:defRPr sz="1698" b="0" i="1">
                <a:latin typeface="Segoe Pro Light" panose="020B0302040504020203" pitchFamily="34" charset="0"/>
              </a:defRPr>
            </a:lvl2pPr>
            <a:lvl3pPr>
              <a:defRPr sz="1698" b="0" i="1">
                <a:latin typeface="Segoe Pro Light" panose="020B0302040504020203" pitchFamily="34" charset="0"/>
              </a:defRPr>
            </a:lvl3pPr>
            <a:lvl4pPr>
              <a:defRPr sz="1698" b="0" i="1">
                <a:latin typeface="Segoe Pro Light" panose="020B0302040504020203" pitchFamily="34" charset="0"/>
              </a:defRPr>
            </a:lvl4pPr>
            <a:lvl5pPr>
              <a:defRPr sz="1698" b="0" i="1">
                <a:latin typeface="Segoe Pro Light" panose="020B0302040504020203" pitchFamily="34" charset="0"/>
              </a:defRPr>
            </a:lvl5pPr>
          </a:lstStyle>
          <a:p>
            <a:pPr lvl="0"/>
            <a:r>
              <a:rPr lang="en-GB"/>
              <a:t>Add Title, Company.</a:t>
            </a:r>
            <a:endParaRPr lang="en-US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2216D022-3C11-804B-A38C-A774E3BF10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98703" y="4889791"/>
            <a:ext cx="4457083" cy="559071"/>
          </a:xfrm>
        </p:spPr>
        <p:txBody>
          <a:bodyPr lIns="0" tIns="324000" rIns="0" bIns="0">
            <a:normAutofit/>
          </a:bodyPr>
          <a:lstStyle>
            <a:lvl1pPr marL="0" indent="0">
              <a:buNone/>
              <a:defRPr sz="1182" b="0" i="0">
                <a:solidFill>
                  <a:srgbClr val="171717">
                    <a:alpha val="50000"/>
                  </a:srgb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introduction copy for the link below:</a:t>
            </a:r>
            <a:endParaRPr lang="en-US"/>
          </a:p>
        </p:txBody>
      </p:sp>
      <p:sp>
        <p:nvSpPr>
          <p:cNvPr id="20" name="Online Image Placeholder 22">
            <a:extLst>
              <a:ext uri="{FF2B5EF4-FFF2-40B4-BE49-F238E27FC236}">
                <a16:creationId xmlns:a16="http://schemas.microsoft.com/office/drawing/2014/main" id="{863B7398-157B-CC43-AD98-247C284064E3}"/>
              </a:ext>
            </a:extLst>
          </p:cNvPr>
          <p:cNvSpPr>
            <a:spLocks noGrp="1"/>
          </p:cNvSpPr>
          <p:nvPr>
            <p:ph type="clipArt" sz="quarter" idx="23" hasCustomPrompt="1"/>
          </p:nvPr>
        </p:nvSpPr>
        <p:spPr>
          <a:xfrm>
            <a:off x="7098629" y="5636941"/>
            <a:ext cx="2193939" cy="412537"/>
          </a:xfrm>
        </p:spPr>
        <p:txBody>
          <a:bodyPr wrap="none" anchor="ctr" anchorCtr="0">
            <a:normAutofit/>
          </a:bodyPr>
          <a:lstStyle>
            <a:lvl1pPr marL="0" indent="0">
              <a:buNone/>
              <a:defRPr sz="1091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Link Button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F98FEED-98DF-0A8A-9613-15B01CDCD1ED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10052100" y="4460846"/>
            <a:ext cx="888469" cy="406976"/>
          </a:xfrm>
        </p:spPr>
        <p:txBody>
          <a:bodyPr>
            <a:normAutofit/>
          </a:bodyPr>
          <a:lstStyle>
            <a:lvl1pPr marL="0" indent="0" algn="ctr">
              <a:buNone/>
              <a:defRPr sz="546">
                <a:solidFill>
                  <a:srgbClr val="D6D6D6"/>
                </a:solidFill>
              </a:defRPr>
            </a:lvl1pPr>
          </a:lstStyle>
          <a:p>
            <a:r>
              <a:rPr lang="en-US"/>
              <a:t>Add logo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4F87551-37A6-EBA0-02B0-AC63B43D1D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3171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testimonial 2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D37A3A-C693-9744-B55C-C09FF95990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4576203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2D37A3A-C693-9744-B55C-C09FF95990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30" y="661581"/>
            <a:ext cx="8838673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7B82A743-FBBC-E242-9B14-2C89831060C1}"/>
              </a:ext>
            </a:extLst>
          </p:cNvPr>
          <p:cNvSpPr/>
          <p:nvPr userDrawn="1"/>
        </p:nvSpPr>
        <p:spPr>
          <a:xfrm>
            <a:off x="4726105" y="1901872"/>
            <a:ext cx="0" cy="2263862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25400">
            <a:solidFill>
              <a:srgbClr val="00D7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9672AC62-3399-9E45-B198-06B7589DB6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50097" y="1847971"/>
            <a:ext cx="6601288" cy="1703465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183" b="0" i="0" spc="-12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“Click to edit customer quote.”</a:t>
            </a:r>
            <a:endParaRPr lang="en-US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40FBAB18-4A49-F645-9A97-11C16E7F88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49962" y="3560882"/>
            <a:ext cx="2925499" cy="416950"/>
          </a:xfrm>
        </p:spPr>
        <p:txBody>
          <a:bodyPr wrap="square" lIns="0" tIns="180000" rIns="0" bIns="0">
            <a:spAutoFit/>
          </a:bodyPr>
          <a:lstStyle>
            <a:lvl1pPr marL="0" indent="0">
              <a:buNone/>
              <a:defRPr sz="1698"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Add Customer Name,</a:t>
            </a:r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28A6356C-736E-904F-8F6E-65DAF74CB3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50512" y="3915659"/>
            <a:ext cx="2929352" cy="264636"/>
          </a:xfrm>
        </p:spPr>
        <p:txBody>
          <a:bodyPr lIns="0" tIns="36000" rIns="0" bIns="0">
            <a:noAutofit/>
          </a:bodyPr>
          <a:lstStyle>
            <a:lvl1pPr marL="0" indent="0">
              <a:buNone/>
              <a:defRPr sz="1213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>
              <a:defRPr sz="1698" b="0" i="1">
                <a:latin typeface="Segoe Pro Light" panose="020B0302040504020203" pitchFamily="34" charset="0"/>
              </a:defRPr>
            </a:lvl2pPr>
            <a:lvl3pPr>
              <a:defRPr sz="1698" b="0" i="1">
                <a:latin typeface="Segoe Pro Light" panose="020B0302040504020203" pitchFamily="34" charset="0"/>
              </a:defRPr>
            </a:lvl3pPr>
            <a:lvl4pPr>
              <a:defRPr sz="1698" b="0" i="1">
                <a:latin typeface="Segoe Pro Light" panose="020B0302040504020203" pitchFamily="34" charset="0"/>
              </a:defRPr>
            </a:lvl4pPr>
            <a:lvl5pPr>
              <a:defRPr sz="1698" b="0" i="1">
                <a:latin typeface="Segoe Pro Light" panose="020B0302040504020203" pitchFamily="34" charset="0"/>
              </a:defRPr>
            </a:lvl5pPr>
          </a:lstStyle>
          <a:p>
            <a:pPr lvl="0"/>
            <a:r>
              <a:rPr lang="en-GB"/>
              <a:t>Add Title, Company.</a:t>
            </a:r>
            <a:endParaRPr lang="en-US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2216D022-3C11-804B-A38C-A774E3BF10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12214" y="4305317"/>
            <a:ext cx="4457083" cy="559071"/>
          </a:xfrm>
        </p:spPr>
        <p:txBody>
          <a:bodyPr lIns="0" tIns="324000" rIns="0" bIns="0">
            <a:normAutofit/>
          </a:bodyPr>
          <a:lstStyle>
            <a:lvl1pPr marL="0" indent="0">
              <a:buNone/>
              <a:defRPr sz="1182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introduction copy for the link below:</a:t>
            </a:r>
            <a:endParaRPr lang="en-US"/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DE60C519-B1D7-DB41-B90E-08D7C2F718C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263771" y="1901873"/>
            <a:ext cx="2906936" cy="2890353"/>
          </a:xfrm>
          <a:solidFill>
            <a:srgbClr val="D6D6D6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91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add customer picture</a:t>
            </a:r>
          </a:p>
        </p:txBody>
      </p:sp>
      <p:sp>
        <p:nvSpPr>
          <p:cNvPr id="20" name="Online Image Placeholder 22">
            <a:extLst>
              <a:ext uri="{FF2B5EF4-FFF2-40B4-BE49-F238E27FC236}">
                <a16:creationId xmlns:a16="http://schemas.microsoft.com/office/drawing/2014/main" id="{78991718-F2AA-F64F-A6D9-F12EA9DB6642}"/>
              </a:ext>
            </a:extLst>
          </p:cNvPr>
          <p:cNvSpPr>
            <a:spLocks noGrp="1"/>
          </p:cNvSpPr>
          <p:nvPr>
            <p:ph type="clipArt" sz="quarter" idx="23" hasCustomPrompt="1"/>
          </p:nvPr>
        </p:nvSpPr>
        <p:spPr>
          <a:xfrm>
            <a:off x="4712161" y="5354896"/>
            <a:ext cx="2193939" cy="412537"/>
          </a:xfrm>
        </p:spPr>
        <p:txBody>
          <a:bodyPr wrap="none" anchor="ctr" anchorCtr="0">
            <a:normAutofit/>
          </a:bodyPr>
          <a:lstStyle>
            <a:lvl1pPr marL="0" indent="0">
              <a:buNone/>
              <a:defRPr sz="1091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Link Butto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CF463-F8ED-C3CD-AA0A-06E9EF4440A4}"/>
              </a:ext>
            </a:extLst>
          </p:cNvPr>
          <p:cNvSpPr>
            <a:spLocks noGrp="1"/>
          </p:cNvSpPr>
          <p:nvPr>
            <p:ph sz="quarter" idx="63" hasCustomPrompt="1"/>
          </p:nvPr>
        </p:nvSpPr>
        <p:spPr>
          <a:xfrm>
            <a:off x="1273631" y="5000746"/>
            <a:ext cx="1198147" cy="8498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970">
                <a:solidFill>
                  <a:srgbClr val="D6D6D6"/>
                </a:solidFill>
              </a:defRPr>
            </a:lvl1pPr>
          </a:lstStyle>
          <a:p>
            <a:pPr lvl="0"/>
            <a:r>
              <a:rPr lang="en-US"/>
              <a:t>Add logo</a:t>
            </a:r>
          </a:p>
        </p:txBody>
      </p:sp>
      <p:sp>
        <p:nvSpPr>
          <p:cNvPr id="2" name="Subtitle 3">
            <a:extLst>
              <a:ext uri="{FF2B5EF4-FFF2-40B4-BE49-F238E27FC236}">
                <a16:creationId xmlns:a16="http://schemas.microsoft.com/office/drawing/2014/main" id="{D331E3AB-DCD7-6994-B7DF-4C66B439F6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9101538" cy="37842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13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52FFFBA-0A25-F898-5C07-77AC4AAE2F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9511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Panel with numbered list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1723141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CBACA3-1BA7-4B8A-18B3-02CBF532E47A}"/>
              </a:ext>
            </a:extLst>
          </p:cNvPr>
          <p:cNvSpPr/>
          <p:nvPr userDrawn="1"/>
        </p:nvSpPr>
        <p:spPr>
          <a:xfrm>
            <a:off x="2131063" y="1808297"/>
            <a:ext cx="2520996" cy="3701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3AAD63-0DD1-0E91-9B60-278F3A917231}"/>
              </a:ext>
            </a:extLst>
          </p:cNvPr>
          <p:cNvSpPr/>
          <p:nvPr userDrawn="1"/>
        </p:nvSpPr>
        <p:spPr>
          <a:xfrm>
            <a:off x="2130159" y="1777353"/>
            <a:ext cx="2520996" cy="560069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57C28762-5B3B-6BE4-62B9-F5823D1B0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</p:spPr>
        <p:txBody>
          <a:bodyPr vert="horz"/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Subtitle 3">
            <a:extLst>
              <a:ext uri="{FF2B5EF4-FFF2-40B4-BE49-F238E27FC236}">
                <a16:creationId xmlns:a16="http://schemas.microsoft.com/office/drawing/2014/main" id="{A924FB22-93EE-2B1B-6B1C-F2CA0B2FB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9101538" cy="37842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13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5168E2C-5B16-ECC7-04D8-A4BFFD7261F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067592" y="6037169"/>
            <a:ext cx="6128647" cy="261254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49"/>
              <a:t>Click to edit Master text styl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EEC3E29-A861-6418-ED0B-6111B6CEBAB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117743" y="5786618"/>
            <a:ext cx="3956515" cy="2082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13" b="1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object 6">
            <a:extLst>
              <a:ext uri="{FF2B5EF4-FFF2-40B4-BE49-F238E27FC236}">
                <a16:creationId xmlns:a16="http://schemas.microsoft.com/office/drawing/2014/main" id="{5906461B-21EC-E883-890F-3C70B5E0F42D}"/>
              </a:ext>
            </a:extLst>
          </p:cNvPr>
          <p:cNvSpPr/>
          <p:nvPr userDrawn="1"/>
        </p:nvSpPr>
        <p:spPr>
          <a:xfrm>
            <a:off x="2294004" y="3401815"/>
            <a:ext cx="2197159" cy="0"/>
          </a:xfrm>
          <a:custGeom>
            <a:avLst/>
            <a:gdLst/>
            <a:ahLst/>
            <a:cxnLst/>
            <a:rect l="l" t="t" r="r" b="b"/>
            <a:pathLst>
              <a:path w="3623309">
                <a:moveTo>
                  <a:pt x="0" y="0"/>
                </a:moveTo>
                <a:lnTo>
                  <a:pt x="3622926" y="0"/>
                </a:lnTo>
              </a:path>
            </a:pathLst>
          </a:custGeom>
          <a:ln w="20941">
            <a:solidFill>
              <a:srgbClr val="ECECE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8" name="object 7">
            <a:extLst>
              <a:ext uri="{FF2B5EF4-FFF2-40B4-BE49-F238E27FC236}">
                <a16:creationId xmlns:a16="http://schemas.microsoft.com/office/drawing/2014/main" id="{03E03E60-D59B-B177-5FC6-9EEC57277939}"/>
              </a:ext>
            </a:extLst>
          </p:cNvPr>
          <p:cNvSpPr/>
          <p:nvPr userDrawn="1"/>
        </p:nvSpPr>
        <p:spPr>
          <a:xfrm>
            <a:off x="2294004" y="3686234"/>
            <a:ext cx="2197159" cy="0"/>
          </a:xfrm>
          <a:custGeom>
            <a:avLst/>
            <a:gdLst/>
            <a:ahLst/>
            <a:cxnLst/>
            <a:rect l="l" t="t" r="r" b="b"/>
            <a:pathLst>
              <a:path w="3623309">
                <a:moveTo>
                  <a:pt x="0" y="0"/>
                </a:moveTo>
                <a:lnTo>
                  <a:pt x="3622926" y="0"/>
                </a:lnTo>
              </a:path>
            </a:pathLst>
          </a:custGeom>
          <a:ln w="20941">
            <a:solidFill>
              <a:srgbClr val="ECECE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A123DAAE-1F54-A399-3C65-5FA10EFF1EAA}"/>
              </a:ext>
            </a:extLst>
          </p:cNvPr>
          <p:cNvSpPr/>
          <p:nvPr userDrawn="1"/>
        </p:nvSpPr>
        <p:spPr>
          <a:xfrm>
            <a:off x="2294004" y="3970652"/>
            <a:ext cx="2197159" cy="0"/>
          </a:xfrm>
          <a:custGeom>
            <a:avLst/>
            <a:gdLst/>
            <a:ahLst/>
            <a:cxnLst/>
            <a:rect l="l" t="t" r="r" b="b"/>
            <a:pathLst>
              <a:path w="3623309">
                <a:moveTo>
                  <a:pt x="0" y="0"/>
                </a:moveTo>
                <a:lnTo>
                  <a:pt x="3622926" y="0"/>
                </a:lnTo>
              </a:path>
            </a:pathLst>
          </a:custGeom>
          <a:ln w="20941">
            <a:solidFill>
              <a:srgbClr val="ECECE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0" name="object 12">
            <a:extLst>
              <a:ext uri="{FF2B5EF4-FFF2-40B4-BE49-F238E27FC236}">
                <a16:creationId xmlns:a16="http://schemas.microsoft.com/office/drawing/2014/main" id="{7E8EAE16-D75B-B9C2-8B37-674CD8B91487}"/>
              </a:ext>
            </a:extLst>
          </p:cNvPr>
          <p:cNvSpPr txBox="1"/>
          <p:nvPr userDrawn="1"/>
        </p:nvSpPr>
        <p:spPr>
          <a:xfrm>
            <a:off x="2479603" y="3218816"/>
            <a:ext cx="1960732" cy="1088484"/>
          </a:xfrm>
          <a:prstGeom prst="rect">
            <a:avLst/>
          </a:prstGeom>
        </p:spPr>
        <p:txBody>
          <a:bodyPr vert="horz" wrap="square" lIns="65482" tIns="10395" rIns="0" bIns="0" rtlCol="0">
            <a:spAutoFit/>
          </a:bodyPr>
          <a:lstStyle/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eploy</a:t>
            </a:r>
            <a:r>
              <a:rPr kumimoji="0" lang="en-AU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1319" b="0" i="0" u="none" strike="noStrike" kern="1200" cap="none" spc="-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Tooling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3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-161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linea-arrows-10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erform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assessment</a:t>
            </a:r>
            <a:r>
              <a:rPr kumimoji="0" sz="1319" b="0" i="0" u="none" strike="noStrike" kern="1200" cap="none" spc="-4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against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-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7R’s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7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roduce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4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irectional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Business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Case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7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Build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out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high</a:t>
            </a:r>
            <a:r>
              <a:rPr kumimoji="0" sz="1319" b="0" i="0" u="none" strike="noStrike" kern="1200" cap="none" spc="4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level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migration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lan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3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7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21" name="object 13">
            <a:extLst>
              <a:ext uri="{FF2B5EF4-FFF2-40B4-BE49-F238E27FC236}">
                <a16:creationId xmlns:a16="http://schemas.microsoft.com/office/drawing/2014/main" id="{B72C3BF8-C174-FB18-3A6E-A4BAD925A613}"/>
              </a:ext>
            </a:extLst>
          </p:cNvPr>
          <p:cNvSpPr txBox="1"/>
          <p:nvPr userDrawn="1"/>
        </p:nvSpPr>
        <p:spPr>
          <a:xfrm>
            <a:off x="2344832" y="5112024"/>
            <a:ext cx="722759" cy="222710"/>
          </a:xfrm>
          <a:prstGeom prst="rect">
            <a:avLst/>
          </a:prstGeom>
        </p:spPr>
        <p:txBody>
          <a:bodyPr vert="horz" wrap="square" lIns="0" tIns="8085" rIns="0" bIns="0" rtlCol="0">
            <a:spAutoFit/>
          </a:bodyPr>
          <a:lstStyle/>
          <a:p>
            <a:pPr marL="7700" marR="3080" lvl="0" indent="43505" algn="l" defTabSz="914005" rtl="0" eaLnBrk="1" fontAlgn="auto" latinLnBrk="0" hangingPunct="1">
              <a:lnSpc>
                <a:spcPct val="1000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iscovery </a:t>
            </a:r>
            <a:r>
              <a:rPr kumimoji="0" sz="697" b="0" i="0" u="none" strike="noStrike" kern="1200" cap="none" spc="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-8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T</a:t>
            </a:r>
            <a:r>
              <a:rPr kumimoji="0" sz="697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oolin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g Fees</a:t>
            </a:r>
          </a:p>
        </p:txBody>
      </p:sp>
      <p:sp>
        <p:nvSpPr>
          <p:cNvPr id="22" name="object 14">
            <a:extLst>
              <a:ext uri="{FF2B5EF4-FFF2-40B4-BE49-F238E27FC236}">
                <a16:creationId xmlns:a16="http://schemas.microsoft.com/office/drawing/2014/main" id="{88BA196B-5248-157E-1930-25153F8E12AB}"/>
              </a:ext>
            </a:extLst>
          </p:cNvPr>
          <p:cNvSpPr txBox="1"/>
          <p:nvPr userDrawn="1"/>
        </p:nvSpPr>
        <p:spPr>
          <a:xfrm>
            <a:off x="2992633" y="5111219"/>
            <a:ext cx="1447701" cy="223876"/>
          </a:xfrm>
          <a:prstGeom prst="rect">
            <a:avLst/>
          </a:prstGeom>
        </p:spPr>
        <p:txBody>
          <a:bodyPr vert="horz" wrap="square" lIns="0" tIns="9240" rIns="0" bIns="0" rtlCol="0">
            <a:spAutoFit/>
          </a:bodyPr>
          <a:lstStyle/>
          <a:p>
            <a:pPr marL="366135" marR="0" lvl="0" indent="0" algn="l" defTabSz="914005" rtl="0" eaLnBrk="1" fontAlgn="auto" latinLnBrk="0" hangingPunct="1">
              <a:lnSpc>
                <a:spcPct val="100000"/>
              </a:lnSpc>
              <a:spcBef>
                <a:spcPts val="148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$27</a:t>
            </a:r>
            <a:r>
              <a:rPr kumimoji="0" sz="697" b="0" i="0" u="none" strike="noStrike" kern="1200" cap="none" spc="-9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USD</a:t>
            </a:r>
            <a:r>
              <a:rPr kumimoji="0" sz="697" b="0" i="0" u="none" strike="noStrike" kern="1200" cap="none" spc="-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-9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er </a:t>
            </a:r>
            <a:r>
              <a:rPr kumimoji="0" sz="697" b="0" i="0" u="none" strike="noStrike" kern="1200" cap="none" spc="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Server***</a:t>
            </a:r>
            <a:endParaRPr kumimoji="0" sz="697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366135" marR="0" lvl="0" indent="0" algn="l" defTabSz="914005" rtl="0" eaLnBrk="1" fontAlgn="auto" latinLnBrk="0" hangingPunct="1">
              <a:lnSpc>
                <a:spcPct val="100000"/>
              </a:lnSpc>
              <a:spcBef>
                <a:spcPts val="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$10k</a:t>
            </a:r>
            <a:r>
              <a:rPr kumimoji="0" sz="697" b="0" i="0" u="none" strike="noStrike" kern="1200" cap="none" spc="-1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for</a:t>
            </a:r>
            <a:r>
              <a:rPr kumimoji="0" sz="697" b="0" i="0" u="none" strike="noStrike" kern="1200" cap="none" spc="-12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FlexDeploy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****</a:t>
            </a: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6831EC45-6F28-EBE3-99F2-38B5689AF313}"/>
              </a:ext>
            </a:extLst>
          </p:cNvPr>
          <p:cNvSpPr/>
          <p:nvPr userDrawn="1"/>
        </p:nvSpPr>
        <p:spPr>
          <a:xfrm>
            <a:off x="2344832" y="4631520"/>
            <a:ext cx="2095503" cy="381160"/>
          </a:xfrm>
          <a:custGeom>
            <a:avLst/>
            <a:gdLst/>
            <a:ahLst/>
            <a:cxnLst/>
            <a:rect l="l" t="t" r="r" b="b"/>
            <a:pathLst>
              <a:path w="3455670" h="628650">
                <a:moveTo>
                  <a:pt x="3413508" y="0"/>
                </a:moveTo>
                <a:lnTo>
                  <a:pt x="41883" y="0"/>
                </a:lnTo>
                <a:lnTo>
                  <a:pt x="25581" y="3291"/>
                </a:lnTo>
                <a:lnTo>
                  <a:pt x="12267" y="12267"/>
                </a:lnTo>
                <a:lnTo>
                  <a:pt x="3291" y="25581"/>
                </a:lnTo>
                <a:lnTo>
                  <a:pt x="0" y="41883"/>
                </a:lnTo>
                <a:lnTo>
                  <a:pt x="0" y="586369"/>
                </a:lnTo>
                <a:lnTo>
                  <a:pt x="3291" y="602671"/>
                </a:lnTo>
                <a:lnTo>
                  <a:pt x="12267" y="615985"/>
                </a:lnTo>
                <a:lnTo>
                  <a:pt x="25581" y="624961"/>
                </a:lnTo>
                <a:lnTo>
                  <a:pt x="41883" y="628253"/>
                </a:lnTo>
                <a:lnTo>
                  <a:pt x="3413508" y="628253"/>
                </a:lnTo>
                <a:lnTo>
                  <a:pt x="3429810" y="624961"/>
                </a:lnTo>
                <a:lnTo>
                  <a:pt x="3443124" y="615985"/>
                </a:lnTo>
                <a:lnTo>
                  <a:pt x="3452100" y="602671"/>
                </a:lnTo>
                <a:lnTo>
                  <a:pt x="3455392" y="586369"/>
                </a:lnTo>
                <a:lnTo>
                  <a:pt x="3455392" y="41883"/>
                </a:lnTo>
                <a:lnTo>
                  <a:pt x="3452100" y="25581"/>
                </a:lnTo>
                <a:lnTo>
                  <a:pt x="3443124" y="12267"/>
                </a:lnTo>
                <a:lnTo>
                  <a:pt x="3429810" y="3291"/>
                </a:lnTo>
                <a:lnTo>
                  <a:pt x="3413508" y="0"/>
                </a:lnTo>
                <a:close/>
              </a:path>
            </a:pathLst>
          </a:custGeom>
          <a:solidFill>
            <a:srgbClr val="00D700"/>
          </a:solidFill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00D700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FEE66D31-607A-65D4-B59D-7F4E6277176B}"/>
              </a:ext>
            </a:extLst>
          </p:cNvPr>
          <p:cNvSpPr txBox="1"/>
          <p:nvPr userDrawn="1"/>
        </p:nvSpPr>
        <p:spPr>
          <a:xfrm>
            <a:off x="3067592" y="4700052"/>
            <a:ext cx="649983" cy="237854"/>
          </a:xfrm>
          <a:prstGeom prst="rect">
            <a:avLst/>
          </a:prstGeom>
        </p:spPr>
        <p:txBody>
          <a:bodyPr vert="horz" wrap="square" lIns="0" tIns="9240" rIns="0" bIns="0" rtlCol="0">
            <a:spAutoFit/>
          </a:bodyPr>
          <a:lstStyle/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85" b="1" i="0" u="none" strike="noStrike" kern="1200" cap="none" spc="3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$000**</a:t>
            </a:r>
            <a:endParaRPr kumimoji="0" sz="1485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C5942FB7-6FE7-A8DC-FC19-8C0E730DC234}"/>
              </a:ext>
            </a:extLst>
          </p:cNvPr>
          <p:cNvSpPr/>
          <p:nvPr userDrawn="1"/>
        </p:nvSpPr>
        <p:spPr>
          <a:xfrm>
            <a:off x="2344832" y="4290508"/>
            <a:ext cx="2095503" cy="254107"/>
          </a:xfrm>
          <a:custGeom>
            <a:avLst/>
            <a:gdLst/>
            <a:ahLst/>
            <a:cxnLst/>
            <a:rect l="l" t="t" r="r" b="b"/>
            <a:pathLst>
              <a:path w="3455670" h="419100">
                <a:moveTo>
                  <a:pt x="3413508" y="0"/>
                </a:moveTo>
                <a:lnTo>
                  <a:pt x="41883" y="0"/>
                </a:lnTo>
                <a:lnTo>
                  <a:pt x="25581" y="3291"/>
                </a:lnTo>
                <a:lnTo>
                  <a:pt x="12267" y="12267"/>
                </a:lnTo>
                <a:lnTo>
                  <a:pt x="3291" y="25581"/>
                </a:lnTo>
                <a:lnTo>
                  <a:pt x="0" y="41883"/>
                </a:lnTo>
                <a:lnTo>
                  <a:pt x="0" y="376951"/>
                </a:lnTo>
                <a:lnTo>
                  <a:pt x="3291" y="393254"/>
                </a:lnTo>
                <a:lnTo>
                  <a:pt x="12267" y="406567"/>
                </a:lnTo>
                <a:lnTo>
                  <a:pt x="25581" y="415543"/>
                </a:lnTo>
                <a:lnTo>
                  <a:pt x="41883" y="418835"/>
                </a:lnTo>
                <a:lnTo>
                  <a:pt x="3413508" y="418835"/>
                </a:lnTo>
                <a:lnTo>
                  <a:pt x="3429810" y="415543"/>
                </a:lnTo>
                <a:lnTo>
                  <a:pt x="3443124" y="406567"/>
                </a:lnTo>
                <a:lnTo>
                  <a:pt x="3452100" y="393254"/>
                </a:lnTo>
                <a:lnTo>
                  <a:pt x="3455392" y="376951"/>
                </a:lnTo>
                <a:lnTo>
                  <a:pt x="3455392" y="41883"/>
                </a:lnTo>
                <a:lnTo>
                  <a:pt x="3452100" y="25581"/>
                </a:lnTo>
                <a:lnTo>
                  <a:pt x="3443124" y="12267"/>
                </a:lnTo>
                <a:lnTo>
                  <a:pt x="3429810" y="3291"/>
                </a:lnTo>
                <a:lnTo>
                  <a:pt x="3413508" y="0"/>
                </a:lnTo>
                <a:close/>
              </a:path>
            </a:pathLst>
          </a:custGeom>
          <a:solidFill>
            <a:srgbClr val="E3E5E7"/>
          </a:solidFill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A8DD4B-26C9-8472-B653-901496B224D7}"/>
              </a:ext>
            </a:extLst>
          </p:cNvPr>
          <p:cNvSpPr txBox="1"/>
          <p:nvPr userDrawn="1"/>
        </p:nvSpPr>
        <p:spPr>
          <a:xfrm>
            <a:off x="2449953" y="4305596"/>
            <a:ext cx="1885260" cy="241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70" b="0" i="0" u="none" strike="noStrike" kern="1200" cap="none" spc="1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uration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-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4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12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weeks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1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elapsed</a:t>
            </a:r>
            <a:endParaRPr kumimoji="0" lang="en-AU" sz="97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27" name="object 2">
            <a:extLst>
              <a:ext uri="{FF2B5EF4-FFF2-40B4-BE49-F238E27FC236}">
                <a16:creationId xmlns:a16="http://schemas.microsoft.com/office/drawing/2014/main" id="{A7577960-DF5A-5977-7653-E8117C479D57}"/>
              </a:ext>
            </a:extLst>
          </p:cNvPr>
          <p:cNvSpPr txBox="1"/>
          <p:nvPr userDrawn="1"/>
        </p:nvSpPr>
        <p:spPr>
          <a:xfrm>
            <a:off x="2646439" y="1912806"/>
            <a:ext cx="1440956" cy="345645"/>
          </a:xfrm>
          <a:prstGeom prst="rect">
            <a:avLst/>
          </a:prstGeom>
        </p:spPr>
        <p:txBody>
          <a:bodyPr vert="horz" wrap="square" lIns="0" tIns="9625" rIns="0" bIns="0" rtlCol="0">
            <a:spAutoFit/>
          </a:bodyPr>
          <a:lstStyle/>
          <a:p>
            <a:pPr marL="7700" marR="0" lvl="0" indent="0" algn="ctr" defTabSz="914005" rtl="0" eaLnBrk="1" fontAlgn="auto" latinLnBrk="0" hangingPunct="1">
              <a:lnSpc>
                <a:spcPct val="100000"/>
              </a:lnSpc>
              <a:spcBef>
                <a:spcPts val="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83" b="0" i="0" u="none" strike="noStrike" kern="1200" cap="none" spc="5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Small</a:t>
            </a:r>
            <a:endParaRPr kumimoji="0" lang="en-US" sz="2183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28" name="object 9">
            <a:extLst>
              <a:ext uri="{FF2B5EF4-FFF2-40B4-BE49-F238E27FC236}">
                <a16:creationId xmlns:a16="http://schemas.microsoft.com/office/drawing/2014/main" id="{3B9D53AA-E716-CC94-5F16-1080F13832D7}"/>
              </a:ext>
            </a:extLst>
          </p:cNvPr>
          <p:cNvSpPr txBox="1"/>
          <p:nvPr userDrawn="1"/>
        </p:nvSpPr>
        <p:spPr>
          <a:xfrm>
            <a:off x="2286302" y="2326955"/>
            <a:ext cx="2212562" cy="745996"/>
          </a:xfrm>
          <a:prstGeom prst="rect">
            <a:avLst/>
          </a:prstGeom>
        </p:spPr>
        <p:txBody>
          <a:bodyPr vert="horz" wrap="square" lIns="0" tIns="130133" rIns="0" bIns="0" rtlCol="0">
            <a:spAutoFit/>
          </a:bodyPr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1024"/>
              </a:spcBef>
              <a:spcAft>
                <a:spcPts val="0"/>
              </a:spcAft>
              <a:buClrTx/>
              <a:buSzTx/>
              <a:buFontTx/>
              <a:buNone/>
              <a:tabLst>
                <a:tab pos="512436" algn="l"/>
                <a:tab pos="2196428" algn="l"/>
              </a:tabLst>
              <a:defRPr/>
            </a:pPr>
            <a:r>
              <a:rPr kumimoji="0" sz="2395" b="1" i="0" u="none" strike="noStrike" kern="1200" cap="none" spc="24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20</a:t>
            </a:r>
            <a:r>
              <a:rPr kumimoji="0" sz="2395" b="1" i="0" u="none" strike="noStrike" kern="1200" cap="none" spc="8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2395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–</a:t>
            </a:r>
            <a:r>
              <a:rPr kumimoji="0" sz="2395" b="1" i="0" u="none" strike="noStrike" kern="1200" cap="none" spc="8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2395" b="1" i="0" u="none" strike="noStrike" kern="1200" cap="none" spc="3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199</a:t>
            </a:r>
            <a:endParaRPr kumimoji="0" lang="en-AU" sz="2395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49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82" b="0" i="0" u="none" strike="noStrike" kern="1200" cap="none" spc="12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Servers</a:t>
            </a:r>
            <a:endParaRPr kumimoji="0" lang="en-AU" sz="1182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30DBE69-7F4E-1B66-C2E9-7784DA6B2C55}"/>
              </a:ext>
            </a:extLst>
          </p:cNvPr>
          <p:cNvCxnSpPr>
            <a:cxnSpLocks/>
          </p:cNvCxnSpPr>
          <p:nvPr userDrawn="1"/>
        </p:nvCxnSpPr>
        <p:spPr>
          <a:xfrm>
            <a:off x="2294522" y="2823268"/>
            <a:ext cx="2196122" cy="0"/>
          </a:xfrm>
          <a:prstGeom prst="line">
            <a:avLst/>
          </a:prstGeom>
          <a:ln w="254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08195A16-7663-30BA-32E7-E855E43D59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344832" y="3235094"/>
            <a:ext cx="134771" cy="134754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743713E9-D84A-AD43-D124-9149BE2AFF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344832" y="3502575"/>
            <a:ext cx="134771" cy="134754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5AEE1143-3182-6903-D71C-A592610163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344832" y="3767624"/>
            <a:ext cx="134771" cy="134754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B2419548-76F3-AA8E-7083-9A924509FE5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344832" y="4035105"/>
            <a:ext cx="134771" cy="134754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C68C80CB-2ED5-93F0-DB96-C13FAC653DFE}"/>
              </a:ext>
            </a:extLst>
          </p:cNvPr>
          <p:cNvSpPr/>
          <p:nvPr userDrawn="1"/>
        </p:nvSpPr>
        <p:spPr>
          <a:xfrm>
            <a:off x="4797634" y="1800881"/>
            <a:ext cx="2520996" cy="3701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6C71E1A-CA18-92EB-C88C-A3342DC80273}"/>
              </a:ext>
            </a:extLst>
          </p:cNvPr>
          <p:cNvSpPr/>
          <p:nvPr userDrawn="1"/>
        </p:nvSpPr>
        <p:spPr>
          <a:xfrm>
            <a:off x="4796729" y="1769936"/>
            <a:ext cx="2520996" cy="560069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6" name="object 6">
            <a:extLst>
              <a:ext uri="{FF2B5EF4-FFF2-40B4-BE49-F238E27FC236}">
                <a16:creationId xmlns:a16="http://schemas.microsoft.com/office/drawing/2014/main" id="{FB55447C-7BEA-FB24-DA6D-6F2B0DB5917A}"/>
              </a:ext>
            </a:extLst>
          </p:cNvPr>
          <p:cNvSpPr/>
          <p:nvPr userDrawn="1"/>
        </p:nvSpPr>
        <p:spPr>
          <a:xfrm>
            <a:off x="4960574" y="3394398"/>
            <a:ext cx="2197159" cy="0"/>
          </a:xfrm>
          <a:custGeom>
            <a:avLst/>
            <a:gdLst/>
            <a:ahLst/>
            <a:cxnLst/>
            <a:rect l="l" t="t" r="r" b="b"/>
            <a:pathLst>
              <a:path w="3623309">
                <a:moveTo>
                  <a:pt x="0" y="0"/>
                </a:moveTo>
                <a:lnTo>
                  <a:pt x="3622926" y="0"/>
                </a:lnTo>
              </a:path>
            </a:pathLst>
          </a:custGeom>
          <a:ln w="20941">
            <a:solidFill>
              <a:srgbClr val="ECECE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7" name="object 7">
            <a:extLst>
              <a:ext uri="{FF2B5EF4-FFF2-40B4-BE49-F238E27FC236}">
                <a16:creationId xmlns:a16="http://schemas.microsoft.com/office/drawing/2014/main" id="{AFD54249-6478-C612-A739-7ABE5B497A1E}"/>
              </a:ext>
            </a:extLst>
          </p:cNvPr>
          <p:cNvSpPr/>
          <p:nvPr userDrawn="1"/>
        </p:nvSpPr>
        <p:spPr>
          <a:xfrm>
            <a:off x="4960574" y="3678817"/>
            <a:ext cx="2197159" cy="0"/>
          </a:xfrm>
          <a:custGeom>
            <a:avLst/>
            <a:gdLst/>
            <a:ahLst/>
            <a:cxnLst/>
            <a:rect l="l" t="t" r="r" b="b"/>
            <a:pathLst>
              <a:path w="3623309">
                <a:moveTo>
                  <a:pt x="0" y="0"/>
                </a:moveTo>
                <a:lnTo>
                  <a:pt x="3622926" y="0"/>
                </a:lnTo>
              </a:path>
            </a:pathLst>
          </a:custGeom>
          <a:ln w="20941">
            <a:solidFill>
              <a:srgbClr val="ECECE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8" name="object 8">
            <a:extLst>
              <a:ext uri="{FF2B5EF4-FFF2-40B4-BE49-F238E27FC236}">
                <a16:creationId xmlns:a16="http://schemas.microsoft.com/office/drawing/2014/main" id="{F156AD02-9AB7-DC8A-5931-7A4D43995D8D}"/>
              </a:ext>
            </a:extLst>
          </p:cNvPr>
          <p:cNvSpPr/>
          <p:nvPr userDrawn="1"/>
        </p:nvSpPr>
        <p:spPr>
          <a:xfrm>
            <a:off x="4960574" y="3963236"/>
            <a:ext cx="2197159" cy="0"/>
          </a:xfrm>
          <a:custGeom>
            <a:avLst/>
            <a:gdLst/>
            <a:ahLst/>
            <a:cxnLst/>
            <a:rect l="l" t="t" r="r" b="b"/>
            <a:pathLst>
              <a:path w="3623309">
                <a:moveTo>
                  <a:pt x="0" y="0"/>
                </a:moveTo>
                <a:lnTo>
                  <a:pt x="3622926" y="0"/>
                </a:lnTo>
              </a:path>
            </a:pathLst>
          </a:custGeom>
          <a:ln w="20941">
            <a:solidFill>
              <a:srgbClr val="ECECE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9" name="object 12">
            <a:extLst>
              <a:ext uri="{FF2B5EF4-FFF2-40B4-BE49-F238E27FC236}">
                <a16:creationId xmlns:a16="http://schemas.microsoft.com/office/drawing/2014/main" id="{10308F32-115A-692D-85E1-8CE82B3F45A9}"/>
              </a:ext>
            </a:extLst>
          </p:cNvPr>
          <p:cNvSpPr txBox="1"/>
          <p:nvPr userDrawn="1"/>
        </p:nvSpPr>
        <p:spPr>
          <a:xfrm>
            <a:off x="5146173" y="3211399"/>
            <a:ext cx="1960732" cy="1088484"/>
          </a:xfrm>
          <a:prstGeom prst="rect">
            <a:avLst/>
          </a:prstGeom>
        </p:spPr>
        <p:txBody>
          <a:bodyPr vert="horz" wrap="square" lIns="65482" tIns="10395" rIns="0" bIns="0" rtlCol="0">
            <a:spAutoFit/>
          </a:bodyPr>
          <a:lstStyle/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eploy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-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Tooling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3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-161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linea-arrows-10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erform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assessment</a:t>
            </a:r>
            <a:r>
              <a:rPr kumimoji="0" sz="1319" b="0" i="0" u="none" strike="noStrike" kern="1200" cap="none" spc="-4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against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-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7R’s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7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roduce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4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irectional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Business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Case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7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Build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out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high</a:t>
            </a:r>
            <a:r>
              <a:rPr kumimoji="0" sz="1319" b="0" i="0" u="none" strike="noStrike" kern="1200" cap="none" spc="4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level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migration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lan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3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7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40" name="object 13">
            <a:extLst>
              <a:ext uri="{FF2B5EF4-FFF2-40B4-BE49-F238E27FC236}">
                <a16:creationId xmlns:a16="http://schemas.microsoft.com/office/drawing/2014/main" id="{6218AFB5-7793-E8D1-DC8E-002D0B99CC9F}"/>
              </a:ext>
            </a:extLst>
          </p:cNvPr>
          <p:cNvSpPr txBox="1"/>
          <p:nvPr userDrawn="1"/>
        </p:nvSpPr>
        <p:spPr>
          <a:xfrm>
            <a:off x="5011403" y="5104608"/>
            <a:ext cx="722759" cy="222710"/>
          </a:xfrm>
          <a:prstGeom prst="rect">
            <a:avLst/>
          </a:prstGeom>
        </p:spPr>
        <p:txBody>
          <a:bodyPr vert="horz" wrap="square" lIns="0" tIns="8085" rIns="0" bIns="0" rtlCol="0">
            <a:spAutoFit/>
          </a:bodyPr>
          <a:lstStyle/>
          <a:p>
            <a:pPr marL="7700" marR="3080" lvl="0" indent="43505" algn="l" defTabSz="914005" rtl="0" eaLnBrk="1" fontAlgn="auto" latinLnBrk="0" hangingPunct="1">
              <a:lnSpc>
                <a:spcPct val="1000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iscovery </a:t>
            </a:r>
            <a:r>
              <a:rPr kumimoji="0" sz="697" b="0" i="0" u="none" strike="noStrike" kern="1200" cap="none" spc="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-8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T</a:t>
            </a:r>
            <a:r>
              <a:rPr kumimoji="0" sz="697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oolin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g Fees</a:t>
            </a:r>
          </a:p>
        </p:txBody>
      </p:sp>
      <p:sp>
        <p:nvSpPr>
          <p:cNvPr id="41" name="object 14">
            <a:extLst>
              <a:ext uri="{FF2B5EF4-FFF2-40B4-BE49-F238E27FC236}">
                <a16:creationId xmlns:a16="http://schemas.microsoft.com/office/drawing/2014/main" id="{3491536E-DBC7-1036-A5A3-DE8A9829D093}"/>
              </a:ext>
            </a:extLst>
          </p:cNvPr>
          <p:cNvSpPr txBox="1"/>
          <p:nvPr userDrawn="1"/>
        </p:nvSpPr>
        <p:spPr>
          <a:xfrm>
            <a:off x="5659204" y="5103803"/>
            <a:ext cx="1447701" cy="223876"/>
          </a:xfrm>
          <a:prstGeom prst="rect">
            <a:avLst/>
          </a:prstGeom>
        </p:spPr>
        <p:txBody>
          <a:bodyPr vert="horz" wrap="square" lIns="0" tIns="9240" rIns="0" bIns="0" rtlCol="0">
            <a:spAutoFit/>
          </a:bodyPr>
          <a:lstStyle/>
          <a:p>
            <a:pPr marL="366135" marR="0" lvl="0" indent="0" algn="l" defTabSz="914005" rtl="0" eaLnBrk="1" fontAlgn="auto" latinLnBrk="0" hangingPunct="1">
              <a:lnSpc>
                <a:spcPct val="100000"/>
              </a:lnSpc>
              <a:spcBef>
                <a:spcPts val="148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$27</a:t>
            </a:r>
            <a:r>
              <a:rPr kumimoji="0" sz="697" b="0" i="0" u="none" strike="noStrike" kern="1200" cap="none" spc="-9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USD</a:t>
            </a:r>
            <a:r>
              <a:rPr kumimoji="0" sz="697" b="0" i="0" u="none" strike="noStrike" kern="1200" cap="none" spc="-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-9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er </a:t>
            </a:r>
            <a:r>
              <a:rPr kumimoji="0" sz="697" b="0" i="0" u="none" strike="noStrike" kern="1200" cap="none" spc="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Server***</a:t>
            </a:r>
            <a:endParaRPr kumimoji="0" sz="697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366135" marR="0" lvl="0" indent="0" algn="l" defTabSz="914005" rtl="0" eaLnBrk="1" fontAlgn="auto" latinLnBrk="0" hangingPunct="1">
              <a:lnSpc>
                <a:spcPct val="100000"/>
              </a:lnSpc>
              <a:spcBef>
                <a:spcPts val="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$10k</a:t>
            </a:r>
            <a:r>
              <a:rPr kumimoji="0" sz="697" b="0" i="0" u="none" strike="noStrike" kern="1200" cap="none" spc="-1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for</a:t>
            </a:r>
            <a:r>
              <a:rPr kumimoji="0" sz="697" b="0" i="0" u="none" strike="noStrike" kern="1200" cap="none" spc="-12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FlexDeploy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****</a:t>
            </a:r>
          </a:p>
        </p:txBody>
      </p:sp>
      <p:sp>
        <p:nvSpPr>
          <p:cNvPr id="42" name="object 5">
            <a:extLst>
              <a:ext uri="{FF2B5EF4-FFF2-40B4-BE49-F238E27FC236}">
                <a16:creationId xmlns:a16="http://schemas.microsoft.com/office/drawing/2014/main" id="{3100E723-C5E4-E452-D3A5-2796C7D91E78}"/>
              </a:ext>
            </a:extLst>
          </p:cNvPr>
          <p:cNvSpPr/>
          <p:nvPr userDrawn="1"/>
        </p:nvSpPr>
        <p:spPr>
          <a:xfrm>
            <a:off x="5011402" y="4624104"/>
            <a:ext cx="2095503" cy="381160"/>
          </a:xfrm>
          <a:custGeom>
            <a:avLst/>
            <a:gdLst/>
            <a:ahLst/>
            <a:cxnLst/>
            <a:rect l="l" t="t" r="r" b="b"/>
            <a:pathLst>
              <a:path w="3455670" h="628650">
                <a:moveTo>
                  <a:pt x="3413508" y="0"/>
                </a:moveTo>
                <a:lnTo>
                  <a:pt x="41883" y="0"/>
                </a:lnTo>
                <a:lnTo>
                  <a:pt x="25581" y="3291"/>
                </a:lnTo>
                <a:lnTo>
                  <a:pt x="12267" y="12267"/>
                </a:lnTo>
                <a:lnTo>
                  <a:pt x="3291" y="25581"/>
                </a:lnTo>
                <a:lnTo>
                  <a:pt x="0" y="41883"/>
                </a:lnTo>
                <a:lnTo>
                  <a:pt x="0" y="586369"/>
                </a:lnTo>
                <a:lnTo>
                  <a:pt x="3291" y="602671"/>
                </a:lnTo>
                <a:lnTo>
                  <a:pt x="12267" y="615985"/>
                </a:lnTo>
                <a:lnTo>
                  <a:pt x="25581" y="624961"/>
                </a:lnTo>
                <a:lnTo>
                  <a:pt x="41883" y="628253"/>
                </a:lnTo>
                <a:lnTo>
                  <a:pt x="3413508" y="628253"/>
                </a:lnTo>
                <a:lnTo>
                  <a:pt x="3429810" y="624961"/>
                </a:lnTo>
                <a:lnTo>
                  <a:pt x="3443124" y="615985"/>
                </a:lnTo>
                <a:lnTo>
                  <a:pt x="3452100" y="602671"/>
                </a:lnTo>
                <a:lnTo>
                  <a:pt x="3455392" y="586369"/>
                </a:lnTo>
                <a:lnTo>
                  <a:pt x="3455392" y="41883"/>
                </a:lnTo>
                <a:lnTo>
                  <a:pt x="3452100" y="25581"/>
                </a:lnTo>
                <a:lnTo>
                  <a:pt x="3443124" y="12267"/>
                </a:lnTo>
                <a:lnTo>
                  <a:pt x="3429810" y="3291"/>
                </a:lnTo>
                <a:lnTo>
                  <a:pt x="3413508" y="0"/>
                </a:lnTo>
                <a:close/>
              </a:path>
            </a:pathLst>
          </a:custGeom>
          <a:solidFill>
            <a:srgbClr val="00D700"/>
          </a:solidFill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3" name="object 10">
            <a:extLst>
              <a:ext uri="{FF2B5EF4-FFF2-40B4-BE49-F238E27FC236}">
                <a16:creationId xmlns:a16="http://schemas.microsoft.com/office/drawing/2014/main" id="{BD037AB9-F933-E0B5-3DFF-AC873EDDEAB2}"/>
              </a:ext>
            </a:extLst>
          </p:cNvPr>
          <p:cNvSpPr txBox="1"/>
          <p:nvPr userDrawn="1"/>
        </p:nvSpPr>
        <p:spPr>
          <a:xfrm>
            <a:off x="5734162" y="4692636"/>
            <a:ext cx="649983" cy="237854"/>
          </a:xfrm>
          <a:prstGeom prst="rect">
            <a:avLst/>
          </a:prstGeom>
        </p:spPr>
        <p:txBody>
          <a:bodyPr vert="horz" wrap="square" lIns="0" tIns="9240" rIns="0" bIns="0" rtlCol="0">
            <a:spAutoFit/>
          </a:bodyPr>
          <a:lstStyle/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85" b="1" i="0" u="none" strike="noStrike" kern="1200" cap="none" spc="3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$000**</a:t>
            </a:r>
            <a:endParaRPr kumimoji="0" sz="1485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44" name="object 4">
            <a:extLst>
              <a:ext uri="{FF2B5EF4-FFF2-40B4-BE49-F238E27FC236}">
                <a16:creationId xmlns:a16="http://schemas.microsoft.com/office/drawing/2014/main" id="{9068EEF1-CCDE-7141-1CC2-9314D32F0FBF}"/>
              </a:ext>
            </a:extLst>
          </p:cNvPr>
          <p:cNvSpPr/>
          <p:nvPr userDrawn="1"/>
        </p:nvSpPr>
        <p:spPr>
          <a:xfrm>
            <a:off x="5011402" y="4283092"/>
            <a:ext cx="2095503" cy="254107"/>
          </a:xfrm>
          <a:custGeom>
            <a:avLst/>
            <a:gdLst/>
            <a:ahLst/>
            <a:cxnLst/>
            <a:rect l="l" t="t" r="r" b="b"/>
            <a:pathLst>
              <a:path w="3455670" h="419100">
                <a:moveTo>
                  <a:pt x="3413508" y="0"/>
                </a:moveTo>
                <a:lnTo>
                  <a:pt x="41883" y="0"/>
                </a:lnTo>
                <a:lnTo>
                  <a:pt x="25581" y="3291"/>
                </a:lnTo>
                <a:lnTo>
                  <a:pt x="12267" y="12267"/>
                </a:lnTo>
                <a:lnTo>
                  <a:pt x="3291" y="25581"/>
                </a:lnTo>
                <a:lnTo>
                  <a:pt x="0" y="41883"/>
                </a:lnTo>
                <a:lnTo>
                  <a:pt x="0" y="376951"/>
                </a:lnTo>
                <a:lnTo>
                  <a:pt x="3291" y="393254"/>
                </a:lnTo>
                <a:lnTo>
                  <a:pt x="12267" y="406567"/>
                </a:lnTo>
                <a:lnTo>
                  <a:pt x="25581" y="415543"/>
                </a:lnTo>
                <a:lnTo>
                  <a:pt x="41883" y="418835"/>
                </a:lnTo>
                <a:lnTo>
                  <a:pt x="3413508" y="418835"/>
                </a:lnTo>
                <a:lnTo>
                  <a:pt x="3429810" y="415543"/>
                </a:lnTo>
                <a:lnTo>
                  <a:pt x="3443124" y="406567"/>
                </a:lnTo>
                <a:lnTo>
                  <a:pt x="3452100" y="393254"/>
                </a:lnTo>
                <a:lnTo>
                  <a:pt x="3455392" y="376951"/>
                </a:lnTo>
                <a:lnTo>
                  <a:pt x="3455392" y="41883"/>
                </a:lnTo>
                <a:lnTo>
                  <a:pt x="3452100" y="25581"/>
                </a:lnTo>
                <a:lnTo>
                  <a:pt x="3443124" y="12267"/>
                </a:lnTo>
                <a:lnTo>
                  <a:pt x="3429810" y="3291"/>
                </a:lnTo>
                <a:lnTo>
                  <a:pt x="3413508" y="0"/>
                </a:lnTo>
                <a:close/>
              </a:path>
            </a:pathLst>
          </a:custGeom>
          <a:solidFill>
            <a:srgbClr val="E3E5E7"/>
          </a:solidFill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670FEEB-233E-6E4B-2D98-764CB915DAFC}"/>
              </a:ext>
            </a:extLst>
          </p:cNvPr>
          <p:cNvSpPr txBox="1"/>
          <p:nvPr userDrawn="1"/>
        </p:nvSpPr>
        <p:spPr>
          <a:xfrm>
            <a:off x="5116524" y="4298179"/>
            <a:ext cx="1885260" cy="241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70" b="0" i="0" u="none" strike="noStrike" kern="1200" cap="none" spc="1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uration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-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6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12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weeks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1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elapsed</a:t>
            </a:r>
            <a:endParaRPr kumimoji="0" lang="en-AU" sz="97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46" name="object 2">
            <a:extLst>
              <a:ext uri="{FF2B5EF4-FFF2-40B4-BE49-F238E27FC236}">
                <a16:creationId xmlns:a16="http://schemas.microsoft.com/office/drawing/2014/main" id="{4683659B-9BA3-D034-960E-9181867C3AE0}"/>
              </a:ext>
            </a:extLst>
          </p:cNvPr>
          <p:cNvSpPr txBox="1"/>
          <p:nvPr userDrawn="1"/>
        </p:nvSpPr>
        <p:spPr>
          <a:xfrm>
            <a:off x="5313009" y="1905389"/>
            <a:ext cx="1440956" cy="345645"/>
          </a:xfrm>
          <a:prstGeom prst="rect">
            <a:avLst/>
          </a:prstGeom>
        </p:spPr>
        <p:txBody>
          <a:bodyPr vert="horz" wrap="square" lIns="0" tIns="9625" rIns="0" bIns="0" rtlCol="0">
            <a:spAutoFit/>
          </a:bodyPr>
          <a:lstStyle/>
          <a:p>
            <a:pPr marL="7700" marR="0" lvl="0" indent="0" algn="ctr" defTabSz="914005" rtl="0" eaLnBrk="1" fontAlgn="auto" latinLnBrk="0" hangingPunct="1">
              <a:lnSpc>
                <a:spcPct val="100000"/>
              </a:lnSpc>
              <a:spcBef>
                <a:spcPts val="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83" b="0" i="0" u="none" strike="noStrike" kern="1200" cap="none" spc="5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Medium</a:t>
            </a:r>
            <a:endParaRPr kumimoji="0" sz="2183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47" name="object 9">
            <a:extLst>
              <a:ext uri="{FF2B5EF4-FFF2-40B4-BE49-F238E27FC236}">
                <a16:creationId xmlns:a16="http://schemas.microsoft.com/office/drawing/2014/main" id="{781AECFD-E1E5-49CB-BF3C-34089501C8BC}"/>
              </a:ext>
            </a:extLst>
          </p:cNvPr>
          <p:cNvSpPr txBox="1"/>
          <p:nvPr userDrawn="1"/>
        </p:nvSpPr>
        <p:spPr>
          <a:xfrm>
            <a:off x="4952873" y="2319538"/>
            <a:ext cx="2212562" cy="745996"/>
          </a:xfrm>
          <a:prstGeom prst="rect">
            <a:avLst/>
          </a:prstGeom>
        </p:spPr>
        <p:txBody>
          <a:bodyPr vert="horz" wrap="square" lIns="0" tIns="130133" rIns="0" bIns="0" rtlCol="0">
            <a:spAutoFit/>
          </a:bodyPr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1024"/>
              </a:spcBef>
              <a:spcAft>
                <a:spcPts val="0"/>
              </a:spcAft>
              <a:buClrTx/>
              <a:buSzTx/>
              <a:buFontTx/>
              <a:buNone/>
              <a:tabLst>
                <a:tab pos="512436" algn="l"/>
                <a:tab pos="2196428" algn="l"/>
              </a:tabLst>
              <a:defRPr/>
            </a:pPr>
            <a:r>
              <a:rPr kumimoji="0" sz="2395" b="1" i="0" u="none" strike="noStrike" kern="1200" cap="none" spc="24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20</a:t>
            </a:r>
            <a:r>
              <a:rPr kumimoji="0" sz="2395" b="1" i="0" u="none" strike="noStrike" kern="1200" cap="none" spc="8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2395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–</a:t>
            </a:r>
            <a:r>
              <a:rPr kumimoji="0" sz="2395" b="1" i="0" u="none" strike="noStrike" kern="1200" cap="none" spc="8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2395" b="1" i="0" u="none" strike="noStrike" kern="1200" cap="none" spc="3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199</a:t>
            </a:r>
            <a:endParaRPr kumimoji="0" lang="en-AU" sz="2395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49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82" b="0" i="0" u="none" strike="noStrike" kern="1200" cap="none" spc="12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Servers</a:t>
            </a:r>
            <a:endParaRPr kumimoji="0" lang="en-AU" sz="1182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8E51AA0-1195-DDCF-CD89-4DE6F40039B2}"/>
              </a:ext>
            </a:extLst>
          </p:cNvPr>
          <p:cNvCxnSpPr>
            <a:cxnSpLocks/>
          </p:cNvCxnSpPr>
          <p:nvPr userDrawn="1"/>
        </p:nvCxnSpPr>
        <p:spPr>
          <a:xfrm>
            <a:off x="4961093" y="2815851"/>
            <a:ext cx="2196122" cy="0"/>
          </a:xfrm>
          <a:prstGeom prst="line">
            <a:avLst/>
          </a:prstGeom>
          <a:ln w="254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Graphic 48">
            <a:extLst>
              <a:ext uri="{FF2B5EF4-FFF2-40B4-BE49-F238E27FC236}">
                <a16:creationId xmlns:a16="http://schemas.microsoft.com/office/drawing/2014/main" id="{9889F9CF-64B6-6308-B34A-327943FBF33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011402" y="3227678"/>
            <a:ext cx="134771" cy="13475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36A591DE-20E1-F7BF-801D-7A5BA63128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011402" y="3495159"/>
            <a:ext cx="134771" cy="134754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ED37F6C4-6CB7-A2ED-D3E8-6FF4EAC3AC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011402" y="3760208"/>
            <a:ext cx="134771" cy="134754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8A431178-941D-6D8A-828E-3BD73357956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011402" y="4027689"/>
            <a:ext cx="134771" cy="134754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4F98B778-554C-8A21-CF25-88D9B9ECF4D1}"/>
              </a:ext>
            </a:extLst>
          </p:cNvPr>
          <p:cNvSpPr/>
          <p:nvPr userDrawn="1"/>
        </p:nvSpPr>
        <p:spPr>
          <a:xfrm>
            <a:off x="7450530" y="1800881"/>
            <a:ext cx="2520996" cy="3701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4B8D16B-1D16-C7FF-189C-5E61FF9AF8B9}"/>
              </a:ext>
            </a:extLst>
          </p:cNvPr>
          <p:cNvSpPr/>
          <p:nvPr userDrawn="1"/>
        </p:nvSpPr>
        <p:spPr>
          <a:xfrm>
            <a:off x="7449625" y="1769936"/>
            <a:ext cx="2520996" cy="560069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55" name="object 6">
            <a:extLst>
              <a:ext uri="{FF2B5EF4-FFF2-40B4-BE49-F238E27FC236}">
                <a16:creationId xmlns:a16="http://schemas.microsoft.com/office/drawing/2014/main" id="{40AD6750-C384-A917-4816-D09B0FB4D0B8}"/>
              </a:ext>
            </a:extLst>
          </p:cNvPr>
          <p:cNvSpPr/>
          <p:nvPr userDrawn="1"/>
        </p:nvSpPr>
        <p:spPr>
          <a:xfrm>
            <a:off x="7613470" y="3394398"/>
            <a:ext cx="2197159" cy="0"/>
          </a:xfrm>
          <a:custGeom>
            <a:avLst/>
            <a:gdLst/>
            <a:ahLst/>
            <a:cxnLst/>
            <a:rect l="l" t="t" r="r" b="b"/>
            <a:pathLst>
              <a:path w="3623309">
                <a:moveTo>
                  <a:pt x="0" y="0"/>
                </a:moveTo>
                <a:lnTo>
                  <a:pt x="3622926" y="0"/>
                </a:lnTo>
              </a:path>
            </a:pathLst>
          </a:custGeom>
          <a:ln w="20941">
            <a:solidFill>
              <a:srgbClr val="ECECE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56" name="object 7">
            <a:extLst>
              <a:ext uri="{FF2B5EF4-FFF2-40B4-BE49-F238E27FC236}">
                <a16:creationId xmlns:a16="http://schemas.microsoft.com/office/drawing/2014/main" id="{F0C5FE01-2ABD-7DF3-1D6D-6031C472482A}"/>
              </a:ext>
            </a:extLst>
          </p:cNvPr>
          <p:cNvSpPr/>
          <p:nvPr userDrawn="1"/>
        </p:nvSpPr>
        <p:spPr>
          <a:xfrm>
            <a:off x="7613470" y="3678817"/>
            <a:ext cx="2197159" cy="0"/>
          </a:xfrm>
          <a:custGeom>
            <a:avLst/>
            <a:gdLst/>
            <a:ahLst/>
            <a:cxnLst/>
            <a:rect l="l" t="t" r="r" b="b"/>
            <a:pathLst>
              <a:path w="3623309">
                <a:moveTo>
                  <a:pt x="0" y="0"/>
                </a:moveTo>
                <a:lnTo>
                  <a:pt x="3622926" y="0"/>
                </a:lnTo>
              </a:path>
            </a:pathLst>
          </a:custGeom>
          <a:ln w="20941">
            <a:solidFill>
              <a:srgbClr val="ECECE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57" name="object 8">
            <a:extLst>
              <a:ext uri="{FF2B5EF4-FFF2-40B4-BE49-F238E27FC236}">
                <a16:creationId xmlns:a16="http://schemas.microsoft.com/office/drawing/2014/main" id="{F07D4A3A-D3F2-FF26-5A02-16D5BB46FA48}"/>
              </a:ext>
            </a:extLst>
          </p:cNvPr>
          <p:cNvSpPr/>
          <p:nvPr userDrawn="1"/>
        </p:nvSpPr>
        <p:spPr>
          <a:xfrm>
            <a:off x="7613470" y="3963236"/>
            <a:ext cx="2197159" cy="0"/>
          </a:xfrm>
          <a:custGeom>
            <a:avLst/>
            <a:gdLst/>
            <a:ahLst/>
            <a:cxnLst/>
            <a:rect l="l" t="t" r="r" b="b"/>
            <a:pathLst>
              <a:path w="3623309">
                <a:moveTo>
                  <a:pt x="0" y="0"/>
                </a:moveTo>
                <a:lnTo>
                  <a:pt x="3622926" y="0"/>
                </a:lnTo>
              </a:path>
            </a:pathLst>
          </a:custGeom>
          <a:ln w="20941">
            <a:solidFill>
              <a:srgbClr val="ECECE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58" name="object 12">
            <a:extLst>
              <a:ext uri="{FF2B5EF4-FFF2-40B4-BE49-F238E27FC236}">
                <a16:creationId xmlns:a16="http://schemas.microsoft.com/office/drawing/2014/main" id="{87880BCD-80F0-EAB1-CFFA-ED1C46A9CD12}"/>
              </a:ext>
            </a:extLst>
          </p:cNvPr>
          <p:cNvSpPr txBox="1"/>
          <p:nvPr userDrawn="1"/>
        </p:nvSpPr>
        <p:spPr>
          <a:xfrm>
            <a:off x="7799070" y="3211399"/>
            <a:ext cx="1960732" cy="1088484"/>
          </a:xfrm>
          <a:prstGeom prst="rect">
            <a:avLst/>
          </a:prstGeom>
        </p:spPr>
        <p:txBody>
          <a:bodyPr vert="horz" wrap="square" lIns="65482" tIns="10395" rIns="0" bIns="0" rtlCol="0">
            <a:spAutoFit/>
          </a:bodyPr>
          <a:lstStyle/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eploy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-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Tooling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3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4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-161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linea-arrows-10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erform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assessment</a:t>
            </a:r>
            <a:r>
              <a:rPr kumimoji="0" sz="1319" b="0" i="0" u="none" strike="noStrike" kern="1200" cap="none" spc="-4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against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-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7R’s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7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roduce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4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irectional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Business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Case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7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Build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9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out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high</a:t>
            </a:r>
            <a:r>
              <a:rPr kumimoji="0" sz="1319" b="0" i="0" u="none" strike="noStrike" kern="1200" cap="none" spc="4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level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migration</a:t>
            </a:r>
            <a:r>
              <a:rPr kumimoji="0" sz="1319" b="0" i="0" u="none" strike="noStrike" kern="1200" cap="none" spc="0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1319" b="0" i="0" u="none" strike="noStrike" kern="1200" cap="none" spc="13" normalizeH="0" baseline="1915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lan</a:t>
            </a:r>
            <a:endParaRPr kumimoji="0" sz="1319" b="0" i="0" u="none" strike="noStrike" kern="1200" cap="none" spc="0" normalizeH="0" baseline="1915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3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7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59" name="object 13">
            <a:extLst>
              <a:ext uri="{FF2B5EF4-FFF2-40B4-BE49-F238E27FC236}">
                <a16:creationId xmlns:a16="http://schemas.microsoft.com/office/drawing/2014/main" id="{DF66BEA7-5ED2-DA6A-5DE5-838D7A0D413A}"/>
              </a:ext>
            </a:extLst>
          </p:cNvPr>
          <p:cNvSpPr txBox="1"/>
          <p:nvPr userDrawn="1"/>
        </p:nvSpPr>
        <p:spPr>
          <a:xfrm>
            <a:off x="7664299" y="5104608"/>
            <a:ext cx="722759" cy="222710"/>
          </a:xfrm>
          <a:prstGeom prst="rect">
            <a:avLst/>
          </a:prstGeom>
        </p:spPr>
        <p:txBody>
          <a:bodyPr vert="horz" wrap="square" lIns="0" tIns="8085" rIns="0" bIns="0" rtlCol="0">
            <a:spAutoFit/>
          </a:bodyPr>
          <a:lstStyle/>
          <a:p>
            <a:pPr marL="7700" marR="3080" lvl="0" indent="43505" algn="l" defTabSz="914005" rtl="0" eaLnBrk="1" fontAlgn="auto" latinLnBrk="0" hangingPunct="1">
              <a:lnSpc>
                <a:spcPct val="1000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iscovery </a:t>
            </a:r>
            <a:r>
              <a:rPr kumimoji="0" sz="697" b="0" i="0" u="none" strike="noStrike" kern="1200" cap="none" spc="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-8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T</a:t>
            </a:r>
            <a:r>
              <a:rPr kumimoji="0" sz="697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oolin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g Fees</a:t>
            </a:r>
          </a:p>
        </p:txBody>
      </p:sp>
      <p:sp>
        <p:nvSpPr>
          <p:cNvPr id="60" name="object 14">
            <a:extLst>
              <a:ext uri="{FF2B5EF4-FFF2-40B4-BE49-F238E27FC236}">
                <a16:creationId xmlns:a16="http://schemas.microsoft.com/office/drawing/2014/main" id="{D2EDF036-666C-7E77-3524-7931683FCE31}"/>
              </a:ext>
            </a:extLst>
          </p:cNvPr>
          <p:cNvSpPr txBox="1"/>
          <p:nvPr userDrawn="1"/>
        </p:nvSpPr>
        <p:spPr>
          <a:xfrm>
            <a:off x="8312100" y="5103803"/>
            <a:ext cx="1447701" cy="223876"/>
          </a:xfrm>
          <a:prstGeom prst="rect">
            <a:avLst/>
          </a:prstGeom>
        </p:spPr>
        <p:txBody>
          <a:bodyPr vert="horz" wrap="square" lIns="0" tIns="9240" rIns="0" bIns="0" rtlCol="0">
            <a:spAutoFit/>
          </a:bodyPr>
          <a:lstStyle/>
          <a:p>
            <a:pPr marL="366135" marR="0" lvl="0" indent="0" algn="l" defTabSz="914005" rtl="0" eaLnBrk="1" fontAlgn="auto" latinLnBrk="0" hangingPunct="1">
              <a:lnSpc>
                <a:spcPct val="100000"/>
              </a:lnSpc>
              <a:spcBef>
                <a:spcPts val="148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$27</a:t>
            </a:r>
            <a:r>
              <a:rPr kumimoji="0" sz="697" b="0" i="0" u="none" strike="noStrike" kern="1200" cap="none" spc="-9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USD</a:t>
            </a:r>
            <a:r>
              <a:rPr kumimoji="0" sz="697" b="0" i="0" u="none" strike="noStrike" kern="1200" cap="none" spc="-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-9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Per </a:t>
            </a:r>
            <a:r>
              <a:rPr kumimoji="0" sz="697" b="0" i="0" u="none" strike="noStrike" kern="1200" cap="none" spc="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Server***</a:t>
            </a:r>
            <a:endParaRPr kumimoji="0" sz="697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366135" marR="0" lvl="0" indent="0" algn="l" defTabSz="914005" rtl="0" eaLnBrk="1" fontAlgn="auto" latinLnBrk="0" hangingPunct="1">
              <a:lnSpc>
                <a:spcPct val="100000"/>
              </a:lnSpc>
              <a:spcBef>
                <a:spcPts val="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97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$10k</a:t>
            </a:r>
            <a:r>
              <a:rPr kumimoji="0" sz="697" b="0" i="0" u="none" strike="noStrike" kern="1200" cap="none" spc="-1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for</a:t>
            </a:r>
            <a:r>
              <a:rPr kumimoji="0" sz="697" b="0" i="0" u="none" strike="noStrike" kern="1200" cap="none" spc="-12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697" b="0" i="0" u="none" strike="noStrike" kern="1200" cap="none" spc="0" normalizeH="0" baseline="0" noProof="0" err="1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FlexDeploy</a:t>
            </a:r>
            <a:r>
              <a:rPr kumimoji="0" sz="697" b="0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****</a:t>
            </a:r>
          </a:p>
        </p:txBody>
      </p:sp>
      <p:sp>
        <p:nvSpPr>
          <p:cNvPr id="61" name="object 5">
            <a:extLst>
              <a:ext uri="{FF2B5EF4-FFF2-40B4-BE49-F238E27FC236}">
                <a16:creationId xmlns:a16="http://schemas.microsoft.com/office/drawing/2014/main" id="{297A8CC7-914A-5DAC-1385-EA4152C4E233}"/>
              </a:ext>
            </a:extLst>
          </p:cNvPr>
          <p:cNvSpPr/>
          <p:nvPr userDrawn="1"/>
        </p:nvSpPr>
        <p:spPr>
          <a:xfrm>
            <a:off x="7664298" y="4624104"/>
            <a:ext cx="2095503" cy="381160"/>
          </a:xfrm>
          <a:custGeom>
            <a:avLst/>
            <a:gdLst/>
            <a:ahLst/>
            <a:cxnLst/>
            <a:rect l="l" t="t" r="r" b="b"/>
            <a:pathLst>
              <a:path w="3455670" h="628650">
                <a:moveTo>
                  <a:pt x="3413508" y="0"/>
                </a:moveTo>
                <a:lnTo>
                  <a:pt x="41883" y="0"/>
                </a:lnTo>
                <a:lnTo>
                  <a:pt x="25581" y="3291"/>
                </a:lnTo>
                <a:lnTo>
                  <a:pt x="12267" y="12267"/>
                </a:lnTo>
                <a:lnTo>
                  <a:pt x="3291" y="25581"/>
                </a:lnTo>
                <a:lnTo>
                  <a:pt x="0" y="41883"/>
                </a:lnTo>
                <a:lnTo>
                  <a:pt x="0" y="586369"/>
                </a:lnTo>
                <a:lnTo>
                  <a:pt x="3291" y="602671"/>
                </a:lnTo>
                <a:lnTo>
                  <a:pt x="12267" y="615985"/>
                </a:lnTo>
                <a:lnTo>
                  <a:pt x="25581" y="624961"/>
                </a:lnTo>
                <a:lnTo>
                  <a:pt x="41883" y="628253"/>
                </a:lnTo>
                <a:lnTo>
                  <a:pt x="3413508" y="628253"/>
                </a:lnTo>
                <a:lnTo>
                  <a:pt x="3429810" y="624961"/>
                </a:lnTo>
                <a:lnTo>
                  <a:pt x="3443124" y="615985"/>
                </a:lnTo>
                <a:lnTo>
                  <a:pt x="3452100" y="602671"/>
                </a:lnTo>
                <a:lnTo>
                  <a:pt x="3455392" y="586369"/>
                </a:lnTo>
                <a:lnTo>
                  <a:pt x="3455392" y="41883"/>
                </a:lnTo>
                <a:lnTo>
                  <a:pt x="3452100" y="25581"/>
                </a:lnTo>
                <a:lnTo>
                  <a:pt x="3443124" y="12267"/>
                </a:lnTo>
                <a:lnTo>
                  <a:pt x="3429810" y="3291"/>
                </a:lnTo>
                <a:lnTo>
                  <a:pt x="3413508" y="0"/>
                </a:lnTo>
                <a:close/>
              </a:path>
            </a:pathLst>
          </a:custGeom>
          <a:solidFill>
            <a:srgbClr val="00D700"/>
          </a:solidFill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2" name="object 10">
            <a:extLst>
              <a:ext uri="{FF2B5EF4-FFF2-40B4-BE49-F238E27FC236}">
                <a16:creationId xmlns:a16="http://schemas.microsoft.com/office/drawing/2014/main" id="{E806476A-F4E1-F57E-1B9F-0B1EC4E79B6B}"/>
              </a:ext>
            </a:extLst>
          </p:cNvPr>
          <p:cNvSpPr txBox="1"/>
          <p:nvPr userDrawn="1"/>
        </p:nvSpPr>
        <p:spPr>
          <a:xfrm>
            <a:off x="8387058" y="4692636"/>
            <a:ext cx="649983" cy="237854"/>
          </a:xfrm>
          <a:prstGeom prst="rect">
            <a:avLst/>
          </a:prstGeom>
        </p:spPr>
        <p:txBody>
          <a:bodyPr vert="horz" wrap="square" lIns="0" tIns="9240" rIns="0" bIns="0" rtlCol="0">
            <a:spAutoFit/>
          </a:bodyPr>
          <a:lstStyle/>
          <a:p>
            <a:pPr marL="7700" marR="0" lvl="0" indent="0" algn="l" defTabSz="914005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85" b="1" i="0" u="none" strike="noStrike" kern="1200" cap="none" spc="3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$000**</a:t>
            </a:r>
            <a:endParaRPr kumimoji="0" sz="1485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63" name="object 4">
            <a:extLst>
              <a:ext uri="{FF2B5EF4-FFF2-40B4-BE49-F238E27FC236}">
                <a16:creationId xmlns:a16="http://schemas.microsoft.com/office/drawing/2014/main" id="{66B300AB-A542-1D2D-5FF7-AAD864DAB1AB}"/>
              </a:ext>
            </a:extLst>
          </p:cNvPr>
          <p:cNvSpPr/>
          <p:nvPr userDrawn="1"/>
        </p:nvSpPr>
        <p:spPr>
          <a:xfrm>
            <a:off x="7664298" y="4283092"/>
            <a:ext cx="2095503" cy="254107"/>
          </a:xfrm>
          <a:custGeom>
            <a:avLst/>
            <a:gdLst/>
            <a:ahLst/>
            <a:cxnLst/>
            <a:rect l="l" t="t" r="r" b="b"/>
            <a:pathLst>
              <a:path w="3455670" h="419100">
                <a:moveTo>
                  <a:pt x="3413508" y="0"/>
                </a:moveTo>
                <a:lnTo>
                  <a:pt x="41883" y="0"/>
                </a:lnTo>
                <a:lnTo>
                  <a:pt x="25581" y="3291"/>
                </a:lnTo>
                <a:lnTo>
                  <a:pt x="12267" y="12267"/>
                </a:lnTo>
                <a:lnTo>
                  <a:pt x="3291" y="25581"/>
                </a:lnTo>
                <a:lnTo>
                  <a:pt x="0" y="41883"/>
                </a:lnTo>
                <a:lnTo>
                  <a:pt x="0" y="376951"/>
                </a:lnTo>
                <a:lnTo>
                  <a:pt x="3291" y="393254"/>
                </a:lnTo>
                <a:lnTo>
                  <a:pt x="12267" y="406567"/>
                </a:lnTo>
                <a:lnTo>
                  <a:pt x="25581" y="415543"/>
                </a:lnTo>
                <a:lnTo>
                  <a:pt x="41883" y="418835"/>
                </a:lnTo>
                <a:lnTo>
                  <a:pt x="3413508" y="418835"/>
                </a:lnTo>
                <a:lnTo>
                  <a:pt x="3429810" y="415543"/>
                </a:lnTo>
                <a:lnTo>
                  <a:pt x="3443124" y="406567"/>
                </a:lnTo>
                <a:lnTo>
                  <a:pt x="3452100" y="393254"/>
                </a:lnTo>
                <a:lnTo>
                  <a:pt x="3455392" y="376951"/>
                </a:lnTo>
                <a:lnTo>
                  <a:pt x="3455392" y="41883"/>
                </a:lnTo>
                <a:lnTo>
                  <a:pt x="3452100" y="25581"/>
                </a:lnTo>
                <a:lnTo>
                  <a:pt x="3443124" y="12267"/>
                </a:lnTo>
                <a:lnTo>
                  <a:pt x="3429810" y="3291"/>
                </a:lnTo>
                <a:lnTo>
                  <a:pt x="3413508" y="0"/>
                </a:lnTo>
                <a:close/>
              </a:path>
            </a:pathLst>
          </a:custGeom>
          <a:solidFill>
            <a:srgbClr val="E3E5E7"/>
          </a:solidFill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03BFCD8-F4CE-55C5-56C5-D71A1634EB81}"/>
              </a:ext>
            </a:extLst>
          </p:cNvPr>
          <p:cNvSpPr txBox="1"/>
          <p:nvPr userDrawn="1"/>
        </p:nvSpPr>
        <p:spPr>
          <a:xfrm>
            <a:off x="7769420" y="4298179"/>
            <a:ext cx="1885260" cy="241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70" b="0" i="0" u="none" strike="noStrike" kern="1200" cap="none" spc="1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Duration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-3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-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8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12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weeks</a:t>
            </a:r>
            <a:r>
              <a:rPr kumimoji="0" lang="en-AU" sz="970" b="0" i="0" u="none" strike="noStrike" kern="1200" cap="none" spc="36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lang="en-AU" sz="970" b="0" i="0" u="none" strike="noStrike" kern="1200" cap="none" spc="1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elapsed</a:t>
            </a:r>
            <a:endParaRPr kumimoji="0" lang="en-AU" sz="970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65" name="object 2">
            <a:extLst>
              <a:ext uri="{FF2B5EF4-FFF2-40B4-BE49-F238E27FC236}">
                <a16:creationId xmlns:a16="http://schemas.microsoft.com/office/drawing/2014/main" id="{C14B5ADF-814C-37E2-5515-4E6DC0C60DD4}"/>
              </a:ext>
            </a:extLst>
          </p:cNvPr>
          <p:cNvSpPr txBox="1"/>
          <p:nvPr userDrawn="1"/>
        </p:nvSpPr>
        <p:spPr>
          <a:xfrm>
            <a:off x="7965906" y="1905389"/>
            <a:ext cx="1440956" cy="345645"/>
          </a:xfrm>
          <a:prstGeom prst="rect">
            <a:avLst/>
          </a:prstGeom>
        </p:spPr>
        <p:txBody>
          <a:bodyPr vert="horz" wrap="square" lIns="0" tIns="9625" rIns="0" bIns="0" rtlCol="0">
            <a:spAutoFit/>
          </a:bodyPr>
          <a:lstStyle/>
          <a:p>
            <a:pPr marL="7700" marR="0" lvl="0" indent="0" algn="ctr" defTabSz="914005" rtl="0" eaLnBrk="1" fontAlgn="auto" latinLnBrk="0" hangingPunct="1">
              <a:lnSpc>
                <a:spcPct val="100000"/>
              </a:lnSpc>
              <a:spcBef>
                <a:spcPts val="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83" b="0" i="0" u="none" strike="noStrike" kern="1200" cap="none" spc="5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Large</a:t>
            </a:r>
            <a:endParaRPr kumimoji="0" sz="2183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sp>
        <p:nvSpPr>
          <p:cNvPr id="66" name="object 9">
            <a:extLst>
              <a:ext uri="{FF2B5EF4-FFF2-40B4-BE49-F238E27FC236}">
                <a16:creationId xmlns:a16="http://schemas.microsoft.com/office/drawing/2014/main" id="{F90015B0-D63F-D78C-C187-1C0A494BC32B}"/>
              </a:ext>
            </a:extLst>
          </p:cNvPr>
          <p:cNvSpPr txBox="1"/>
          <p:nvPr userDrawn="1"/>
        </p:nvSpPr>
        <p:spPr>
          <a:xfrm>
            <a:off x="7605769" y="2319538"/>
            <a:ext cx="2212562" cy="745996"/>
          </a:xfrm>
          <a:prstGeom prst="rect">
            <a:avLst/>
          </a:prstGeom>
        </p:spPr>
        <p:txBody>
          <a:bodyPr vert="horz" wrap="square" lIns="0" tIns="130133" rIns="0" bIns="0" rtlCol="0">
            <a:spAutoFit/>
          </a:bodyPr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1024"/>
              </a:spcBef>
              <a:spcAft>
                <a:spcPts val="0"/>
              </a:spcAft>
              <a:buClrTx/>
              <a:buSzTx/>
              <a:buFontTx/>
              <a:buNone/>
              <a:tabLst>
                <a:tab pos="512436" algn="l"/>
                <a:tab pos="2196428" algn="l"/>
              </a:tabLst>
              <a:defRPr/>
            </a:pPr>
            <a:r>
              <a:rPr kumimoji="0" sz="2395" b="1" i="0" u="none" strike="noStrike" kern="1200" cap="none" spc="24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20</a:t>
            </a:r>
            <a:r>
              <a:rPr kumimoji="0" sz="2395" b="1" i="0" u="none" strike="noStrike" kern="1200" cap="none" spc="8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2395" b="1" i="0" u="none" strike="noStrike" kern="1200" cap="none" spc="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–</a:t>
            </a:r>
            <a:r>
              <a:rPr kumimoji="0" sz="2395" b="1" i="0" u="none" strike="noStrike" kern="1200" cap="none" spc="85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 </a:t>
            </a:r>
            <a:r>
              <a:rPr kumimoji="0" sz="2395" b="1" i="0" u="none" strike="noStrike" kern="1200" cap="none" spc="30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>
                  <a:solidFill>
                    <a:srgbClr val="EFDA7B"/>
                  </a:solidFill>
                </a:uFill>
                <a:latin typeface="Century Gothic" panose="020B0502020202020204" pitchFamily="34" charset="0"/>
                <a:ea typeface="+mn-ea"/>
                <a:cs typeface="Segoe Pro"/>
              </a:rPr>
              <a:t>199</a:t>
            </a:r>
            <a:endParaRPr kumimoji="0" lang="en-AU" sz="2395" b="1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49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82" b="0" i="0" u="none" strike="noStrike" kern="1200" cap="none" spc="12" normalizeH="0" baseline="0" noProof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Pro"/>
              </a:rPr>
              <a:t>Servers</a:t>
            </a:r>
            <a:endParaRPr kumimoji="0" lang="en-AU" sz="1182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Pro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DA12047-D2F6-1FBC-3A7D-5BBF83489E86}"/>
              </a:ext>
            </a:extLst>
          </p:cNvPr>
          <p:cNvCxnSpPr>
            <a:cxnSpLocks/>
          </p:cNvCxnSpPr>
          <p:nvPr userDrawn="1"/>
        </p:nvCxnSpPr>
        <p:spPr>
          <a:xfrm>
            <a:off x="7613989" y="2815851"/>
            <a:ext cx="2196122" cy="0"/>
          </a:xfrm>
          <a:prstGeom prst="line">
            <a:avLst/>
          </a:prstGeom>
          <a:ln w="25400">
            <a:solidFill>
              <a:srgbClr val="00D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Graphic 67">
            <a:extLst>
              <a:ext uri="{FF2B5EF4-FFF2-40B4-BE49-F238E27FC236}">
                <a16:creationId xmlns:a16="http://schemas.microsoft.com/office/drawing/2014/main" id="{20E4FB93-6371-FB15-6552-BABE336D11D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64299" y="3227678"/>
            <a:ext cx="134771" cy="134754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CCF221C8-A6A8-2F6F-3F47-E86B5AD90B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64299" y="3495159"/>
            <a:ext cx="134771" cy="134754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A1676EE3-8D20-AD2E-633A-31A344784F1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64299" y="3760208"/>
            <a:ext cx="134771" cy="134754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AF747C6B-791D-140A-B827-8A30B98633C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64299" y="4027689"/>
            <a:ext cx="134771" cy="13475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CAC9E9B9-20B7-31A3-E774-52D2E78B7C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4522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rd panel layout with icons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33206B3-4D4D-8334-83AB-88689429C015}"/>
              </a:ext>
            </a:extLst>
          </p:cNvPr>
          <p:cNvSpPr/>
          <p:nvPr userDrawn="1"/>
        </p:nvSpPr>
        <p:spPr>
          <a:xfrm>
            <a:off x="652627" y="1908864"/>
            <a:ext cx="2616224" cy="3827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55A30D-FC51-11D0-6916-F81043EE02C1}"/>
              </a:ext>
            </a:extLst>
          </p:cNvPr>
          <p:cNvSpPr/>
          <p:nvPr userDrawn="1"/>
        </p:nvSpPr>
        <p:spPr>
          <a:xfrm>
            <a:off x="3413752" y="1908864"/>
            <a:ext cx="2616224" cy="3827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F39298-A0EB-1A4B-2192-009FE197FF7C}"/>
              </a:ext>
            </a:extLst>
          </p:cNvPr>
          <p:cNvSpPr/>
          <p:nvPr userDrawn="1"/>
        </p:nvSpPr>
        <p:spPr>
          <a:xfrm>
            <a:off x="6174877" y="1908864"/>
            <a:ext cx="2616224" cy="3827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85D985B-128C-DFE0-58AD-D08F030DE457}"/>
              </a:ext>
            </a:extLst>
          </p:cNvPr>
          <p:cNvSpPr/>
          <p:nvPr userDrawn="1"/>
        </p:nvSpPr>
        <p:spPr>
          <a:xfrm>
            <a:off x="8936001" y="1908864"/>
            <a:ext cx="2616224" cy="3827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5304280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F09D8A5-B7B3-8C4A-B48E-A376674887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35EEAF74-8E02-6547-A9F0-375D3109381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900295" y="6105614"/>
            <a:ext cx="4378972" cy="335898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091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add summary of features and benefits with a suitable supporting icon in placeholder to the left of this text box.</a:t>
            </a:r>
            <a:endParaRPr lang="en-US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91D99D6D-DCCA-164E-B548-32C6572A75D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11042" y="5855062"/>
            <a:ext cx="3956515" cy="207044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ts val="1758"/>
              </a:lnSpc>
              <a:buFontTx/>
              <a:buNone/>
              <a:defRPr sz="1213" b="1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add sub heading</a:t>
            </a:r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36EC8F8-F8A6-F749-B9C2-15300A049D0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645083" y="3254362"/>
            <a:ext cx="2140422" cy="270599"/>
          </a:xfrm>
        </p:spPr>
        <p:txBody>
          <a:bodyPr>
            <a:normAutofit/>
          </a:bodyPr>
          <a:lstStyle>
            <a:lvl1pPr marL="0" indent="0" algn="ctr">
              <a:buNone/>
              <a:defRPr sz="1334" b="1" i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EC429005-6250-C745-82C2-9A307C7EB9F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45083" y="3725976"/>
            <a:ext cx="2140422" cy="1318429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213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E41AE6C-4BF3-FC41-8135-ABBCDD32302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08580" y="3254362"/>
            <a:ext cx="2140422" cy="270599"/>
          </a:xfrm>
        </p:spPr>
        <p:txBody>
          <a:bodyPr>
            <a:normAutofit/>
          </a:bodyPr>
          <a:lstStyle>
            <a:lvl1pPr marL="0" indent="0" algn="ctr">
              <a:buNone/>
              <a:defRPr sz="1334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9AABA39F-2FB4-4644-8B8C-A04E0E59FC3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408580" y="3725976"/>
            <a:ext cx="2140422" cy="1318429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213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328F1-955D-6B4B-8309-8209ADC582EE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172077" y="3254362"/>
            <a:ext cx="2140422" cy="270599"/>
          </a:xfrm>
        </p:spPr>
        <p:txBody>
          <a:bodyPr>
            <a:normAutofit/>
          </a:bodyPr>
          <a:lstStyle>
            <a:lvl1pPr marL="0" indent="0" algn="ctr">
              <a:buNone/>
              <a:defRPr sz="1334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7175755A-A66A-4B46-9A42-198A7D79C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172077" y="3725976"/>
            <a:ext cx="2140422" cy="1318429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213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B61D43-8718-C241-B085-44B93B7FD1C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90529" y="3254362"/>
            <a:ext cx="2140422" cy="270599"/>
          </a:xfrm>
        </p:spPr>
        <p:txBody>
          <a:bodyPr>
            <a:normAutofit/>
          </a:bodyPr>
          <a:lstStyle>
            <a:lvl1pPr marL="0" indent="0" algn="ctr">
              <a:buNone/>
              <a:defRPr sz="1334" b="1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24F5EE8-6401-9849-A9FE-B05A268895C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90529" y="3725976"/>
            <a:ext cx="2140422" cy="1318429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213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6E9F365C-68F0-A8B6-A28E-C45EA034F111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1611228" y="2333294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D22DB7BA-6707-0C4D-AAE6-BDF1CA21E51C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362342" y="2333294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5AD2082A-0C26-D496-ADE9-E11ACA6EAB83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7134783" y="2333294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62E8F525-90C6-086E-4321-C540EF71892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85897" y="2333294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BE3AAC1-8080-B796-5D50-54EC645AAD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1085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rd panel layout with images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33206B3-4D4D-8334-83AB-88689429C015}"/>
              </a:ext>
            </a:extLst>
          </p:cNvPr>
          <p:cNvSpPr/>
          <p:nvPr userDrawn="1"/>
        </p:nvSpPr>
        <p:spPr>
          <a:xfrm>
            <a:off x="652627" y="1908864"/>
            <a:ext cx="2616224" cy="3827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55A30D-FC51-11D0-6916-F81043EE02C1}"/>
              </a:ext>
            </a:extLst>
          </p:cNvPr>
          <p:cNvSpPr/>
          <p:nvPr userDrawn="1"/>
        </p:nvSpPr>
        <p:spPr>
          <a:xfrm>
            <a:off x="3414459" y="1908864"/>
            <a:ext cx="2616224" cy="3827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F39298-A0EB-1A4B-2192-009FE197FF7C}"/>
              </a:ext>
            </a:extLst>
          </p:cNvPr>
          <p:cNvSpPr/>
          <p:nvPr userDrawn="1"/>
        </p:nvSpPr>
        <p:spPr>
          <a:xfrm>
            <a:off x="6167745" y="1908864"/>
            <a:ext cx="2616224" cy="3827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85D985B-128C-DFE0-58AD-D08F030DE457}"/>
              </a:ext>
            </a:extLst>
          </p:cNvPr>
          <p:cNvSpPr/>
          <p:nvPr userDrawn="1"/>
        </p:nvSpPr>
        <p:spPr>
          <a:xfrm>
            <a:off x="8935295" y="1908864"/>
            <a:ext cx="2616224" cy="3827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5304280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F09D8A5-B7B3-8C4A-B48E-A376674887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35EEAF74-8E02-6547-A9F0-375D3109381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900295" y="6105614"/>
            <a:ext cx="4378972" cy="167949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091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91D99D6D-DCCA-164E-B548-32C6572A75D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111042" y="5855062"/>
            <a:ext cx="3956515" cy="207044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ts val="1758"/>
              </a:lnSpc>
              <a:buFontTx/>
              <a:buNone/>
              <a:defRPr sz="1213" b="1" i="0" spc="-6" baseline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EC429005-6250-C745-82C2-9A307C7EB9F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52360" y="4162572"/>
            <a:ext cx="2140422" cy="1318429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33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9AABA39F-2FB4-4644-8B8C-A04E0E59FC3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405646" y="4162572"/>
            <a:ext cx="2140422" cy="1318429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33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7175755A-A66A-4B46-9A42-198A7D79C30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173196" y="4162572"/>
            <a:ext cx="2140422" cy="1318429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33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24F5EE8-6401-9849-A9FE-B05A268895C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90528" y="4162572"/>
            <a:ext cx="2140422" cy="1318429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33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6E9F365C-68F0-A8B6-A28E-C45EA034F111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52627" y="1900915"/>
            <a:ext cx="2616224" cy="1338637"/>
          </a:xfrm>
          <a:solidFill>
            <a:srgbClr val="D6D6D6"/>
          </a:solidFill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D0311780-96C9-7BD3-2277-E13BC64984D5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3414459" y="1900915"/>
            <a:ext cx="2616224" cy="1338637"/>
          </a:xfrm>
          <a:solidFill>
            <a:srgbClr val="D6D6D6"/>
          </a:solidFill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C3263D97-D798-761B-2967-0778B1BF735D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160612" y="1900915"/>
            <a:ext cx="2630488" cy="1338637"/>
          </a:xfrm>
          <a:solidFill>
            <a:srgbClr val="D6D6D6"/>
          </a:solidFill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F836DCA-B3AA-F59D-94D0-2003B01C4FDC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935294" y="1900915"/>
            <a:ext cx="2616225" cy="1338637"/>
          </a:xfrm>
          <a:solidFill>
            <a:srgbClr val="D6D6D6"/>
          </a:solidFill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0C47C75-DBE6-5672-06DF-0DDF8A97F5F2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90528" y="3419865"/>
            <a:ext cx="2140422" cy="397600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934133C-6F2D-030B-4E80-04AE4B602A22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3652360" y="3419865"/>
            <a:ext cx="2140422" cy="397600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49ABCAF-CA04-FCD8-7CAB-C3A1639FECA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405646" y="3419865"/>
            <a:ext cx="2140422" cy="397600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9A229D-1A54-9B2D-50A9-62C78E9EA285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9173196" y="3419865"/>
            <a:ext cx="2140422" cy="397600"/>
          </a:xfrm>
        </p:spPr>
        <p:txBody>
          <a:bodyPr>
            <a:noAutofit/>
          </a:bodyPr>
          <a:lstStyle>
            <a:lvl1pPr marL="0" indent="0" algn="ctr">
              <a:lnSpc>
                <a:spcPts val="1819"/>
              </a:lnSpc>
              <a:buNone/>
              <a:defRPr sz="1698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D5484BB-D110-9C70-59F6-2C6B64F20C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6646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ard panel layout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337802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F09D8A5-B7B3-8C4A-B48E-A376674887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17D77B7-5517-98AD-248C-622E7496F0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89B13A7-01B5-9979-4A9D-1B85AA02F5F9}"/>
              </a:ext>
            </a:extLst>
          </p:cNvPr>
          <p:cNvSpPr/>
          <p:nvPr userDrawn="1"/>
        </p:nvSpPr>
        <p:spPr>
          <a:xfrm>
            <a:off x="653517" y="1643503"/>
            <a:ext cx="2015691" cy="4539318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49A286F-A327-4301-ECC0-CE2203DD5EFC}"/>
              </a:ext>
            </a:extLst>
          </p:cNvPr>
          <p:cNvSpPr/>
          <p:nvPr userDrawn="1"/>
        </p:nvSpPr>
        <p:spPr>
          <a:xfrm>
            <a:off x="653517" y="1643503"/>
            <a:ext cx="2015691" cy="16071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C3509A-0860-D45D-AC45-5FB688E5B50C}"/>
              </a:ext>
            </a:extLst>
          </p:cNvPr>
          <p:cNvSpPr/>
          <p:nvPr userDrawn="1"/>
        </p:nvSpPr>
        <p:spPr>
          <a:xfrm>
            <a:off x="2843965" y="1642154"/>
            <a:ext cx="2015691" cy="4539318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2FE6E3-2224-46D1-DEE4-7E41C2CF6BF8}"/>
              </a:ext>
            </a:extLst>
          </p:cNvPr>
          <p:cNvSpPr/>
          <p:nvPr userDrawn="1"/>
        </p:nvSpPr>
        <p:spPr>
          <a:xfrm>
            <a:off x="2843965" y="1642154"/>
            <a:ext cx="2015691" cy="1607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05D1A44-E5AD-C4AB-4AB2-9D54154DE5B0}"/>
              </a:ext>
            </a:extLst>
          </p:cNvPr>
          <p:cNvSpPr/>
          <p:nvPr userDrawn="1"/>
        </p:nvSpPr>
        <p:spPr>
          <a:xfrm>
            <a:off x="5067879" y="1657101"/>
            <a:ext cx="2015691" cy="4539318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6745839-64B3-E713-ED58-9D084D18471C}"/>
              </a:ext>
            </a:extLst>
          </p:cNvPr>
          <p:cNvSpPr/>
          <p:nvPr userDrawn="1"/>
        </p:nvSpPr>
        <p:spPr>
          <a:xfrm>
            <a:off x="5067879" y="1657101"/>
            <a:ext cx="2015691" cy="1607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EE9A512-11DB-B5FA-B5AF-C6F49439251F}"/>
              </a:ext>
            </a:extLst>
          </p:cNvPr>
          <p:cNvSpPr/>
          <p:nvPr userDrawn="1"/>
        </p:nvSpPr>
        <p:spPr>
          <a:xfrm>
            <a:off x="7258327" y="1657101"/>
            <a:ext cx="2015691" cy="4539318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61B4D66-22C2-20FF-EE79-371DE93C9508}"/>
              </a:ext>
            </a:extLst>
          </p:cNvPr>
          <p:cNvSpPr/>
          <p:nvPr userDrawn="1"/>
        </p:nvSpPr>
        <p:spPr>
          <a:xfrm>
            <a:off x="7258327" y="1657101"/>
            <a:ext cx="2015691" cy="1607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28E7E7A-4658-48BD-533E-7A5CEBB780BC}"/>
              </a:ext>
            </a:extLst>
          </p:cNvPr>
          <p:cNvSpPr/>
          <p:nvPr userDrawn="1"/>
        </p:nvSpPr>
        <p:spPr>
          <a:xfrm>
            <a:off x="9448775" y="1657101"/>
            <a:ext cx="2015691" cy="4539318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10AA889-CD9F-9E2D-8CCE-77069812B5DD}"/>
              </a:ext>
            </a:extLst>
          </p:cNvPr>
          <p:cNvSpPr/>
          <p:nvPr userDrawn="1"/>
        </p:nvSpPr>
        <p:spPr>
          <a:xfrm>
            <a:off x="9448775" y="1657101"/>
            <a:ext cx="2015691" cy="1607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00B8085B-A8FF-2661-901A-2253D216C822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330458" y="187624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44B223BA-3AE3-D3AA-DFA1-DBD1760E025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3519032" y="1890996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7F7FFCA7-3A34-8794-3029-AB40B680A418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709480" y="1939451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320827D5-55D1-1DA8-BD9D-B9ACAE2D35C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7935268" y="1886247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B148416-6D7F-1CE8-FC9D-A6F800A7405D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0107109" y="1876242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2" name="Text Placeholder 12">
            <a:extLst>
              <a:ext uri="{FF2B5EF4-FFF2-40B4-BE49-F238E27FC236}">
                <a16:creationId xmlns:a16="http://schemas.microsoft.com/office/drawing/2014/main" id="{D39E3ECF-59CE-3568-099B-22B6935836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8256" y="3242922"/>
            <a:ext cx="1592274" cy="758711"/>
          </a:xfrm>
        </p:spPr>
        <p:txBody>
          <a:bodyPr wrap="square" lIns="0" tIns="18000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944"/>
              </a:spcBef>
              <a:spcAft>
                <a:spcPts val="0"/>
              </a:spcAft>
              <a:buClr>
                <a:srgbClr val="808080"/>
              </a:buClr>
              <a:buSzPct val="120000"/>
              <a:buFont typeface="Arial" panose="020B0604020202020204" pitchFamily="34" charset="0"/>
              <a:buChar char="•"/>
              <a:tabLst/>
              <a:defRPr sz="1334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82161D9E-FF70-C0EC-0790-3A7CAA81D96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8256" y="2840541"/>
            <a:ext cx="1592274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6" name="Text Placeholder 12">
            <a:extLst>
              <a:ext uri="{FF2B5EF4-FFF2-40B4-BE49-F238E27FC236}">
                <a16:creationId xmlns:a16="http://schemas.microsoft.com/office/drawing/2014/main" id="{2C68BAAC-41D4-2932-D52D-E1507DE60F5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38704" y="3241992"/>
            <a:ext cx="1592274" cy="758711"/>
          </a:xfrm>
        </p:spPr>
        <p:txBody>
          <a:bodyPr wrap="square" lIns="0" tIns="18000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944"/>
              </a:spcBef>
              <a:spcAft>
                <a:spcPts val="0"/>
              </a:spcAft>
              <a:buClr>
                <a:srgbClr val="808080"/>
              </a:buClr>
              <a:buSzPct val="120000"/>
              <a:buFont typeface="Arial" panose="020B0604020202020204" pitchFamily="34" charset="0"/>
              <a:buChar char="•"/>
              <a:tabLst/>
              <a:defRPr sz="1334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83290DA1-7941-FBC9-7E26-C7E78FBC4FA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038704" y="2839611"/>
            <a:ext cx="1592274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DD30EBE5-E319-3F4E-FD8E-E9F8E31254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262854" y="3241992"/>
            <a:ext cx="1592274" cy="758711"/>
          </a:xfrm>
        </p:spPr>
        <p:txBody>
          <a:bodyPr wrap="square" lIns="0" tIns="18000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944"/>
              </a:spcBef>
              <a:spcAft>
                <a:spcPts val="0"/>
              </a:spcAft>
              <a:buClr>
                <a:srgbClr val="808080"/>
              </a:buClr>
              <a:buSzPct val="120000"/>
              <a:buFont typeface="Arial" panose="020B0604020202020204" pitchFamily="34" charset="0"/>
              <a:buChar char="•"/>
              <a:tabLst/>
              <a:defRPr sz="1334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3" name="Text Placeholder 12">
            <a:extLst>
              <a:ext uri="{FF2B5EF4-FFF2-40B4-BE49-F238E27FC236}">
                <a16:creationId xmlns:a16="http://schemas.microsoft.com/office/drawing/2014/main" id="{56394DDE-5315-3116-0E13-228A73E5026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262854" y="2839611"/>
            <a:ext cx="1592274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07210B5B-D53A-6A6E-D1CF-05AD1D81D29C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57763" y="3241992"/>
            <a:ext cx="1592274" cy="758711"/>
          </a:xfrm>
        </p:spPr>
        <p:txBody>
          <a:bodyPr wrap="square" lIns="0" tIns="18000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944"/>
              </a:spcBef>
              <a:spcAft>
                <a:spcPts val="0"/>
              </a:spcAft>
              <a:buClr>
                <a:srgbClr val="808080"/>
              </a:buClr>
              <a:buSzPct val="120000"/>
              <a:buFont typeface="Arial" panose="020B0604020202020204" pitchFamily="34" charset="0"/>
              <a:buChar char="•"/>
              <a:tabLst/>
              <a:defRPr sz="1334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6" name="Text Placeholder 12">
            <a:extLst>
              <a:ext uri="{FF2B5EF4-FFF2-40B4-BE49-F238E27FC236}">
                <a16:creationId xmlns:a16="http://schemas.microsoft.com/office/drawing/2014/main" id="{37E05F9A-C0E1-17C0-9ED3-49A915A334D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457763" y="2839611"/>
            <a:ext cx="1592274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7569C939-3246-3DAC-17B4-2017CFAB0CC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629465" y="3245320"/>
            <a:ext cx="1592274" cy="758711"/>
          </a:xfrm>
        </p:spPr>
        <p:txBody>
          <a:bodyPr wrap="square" lIns="0" tIns="180000" rIns="0" bIns="0">
            <a:spAutoFit/>
          </a:bodyPr>
          <a:lstStyle>
            <a:lvl1pPr marL="207900" marR="0" indent="-207900" algn="l" defTabSz="863375" rtl="0" eaLnBrk="1" fontAlgn="auto" latinLnBrk="0" hangingPunct="1">
              <a:lnSpc>
                <a:spcPct val="150000"/>
              </a:lnSpc>
              <a:spcBef>
                <a:spcPts val="944"/>
              </a:spcBef>
              <a:spcAft>
                <a:spcPts val="0"/>
              </a:spcAft>
              <a:buClr>
                <a:srgbClr val="808080"/>
              </a:buClr>
              <a:buSzPct val="120000"/>
              <a:buFont typeface="Arial" panose="020B0604020202020204" pitchFamily="34" charset="0"/>
              <a:buChar char="•"/>
              <a:tabLst/>
              <a:defRPr sz="1334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0" name="Text Placeholder 12">
            <a:extLst>
              <a:ext uri="{FF2B5EF4-FFF2-40B4-BE49-F238E27FC236}">
                <a16:creationId xmlns:a16="http://schemas.microsoft.com/office/drawing/2014/main" id="{F8C350D7-F448-188F-7269-A6E93B39896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629465" y="2842939"/>
            <a:ext cx="1592274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698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527410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page 2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641142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Marketing">
            <a:extLst>
              <a:ext uri="{FF2B5EF4-FFF2-40B4-BE49-F238E27FC236}">
                <a16:creationId xmlns:a16="http://schemas.microsoft.com/office/drawing/2014/main" id="{759DAFAA-D7A8-4836-DC02-19A436AF4A68}"/>
              </a:ext>
            </a:extLst>
          </p:cNvPr>
          <p:cNvSpPr/>
          <p:nvPr userDrawn="1"/>
        </p:nvSpPr>
        <p:spPr>
          <a:xfrm>
            <a:off x="628539" y="2861508"/>
            <a:ext cx="3663584" cy="742130"/>
          </a:xfrm>
          <a:prstGeom prst="rect">
            <a:avLst/>
          </a:prstGeom>
          <a:solidFill>
            <a:schemeClr val="accent6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18274" tIns="0" rIns="0" bIns="0" anchor="ctr"/>
          <a:lstStyle>
            <a:lvl1pPr>
              <a:defRPr sz="2000" b="0">
                <a:solidFill>
                  <a:srgbClr val="F7F9FF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0" marR="0" lvl="0" indent="0" algn="l" defTabSz="914005" rtl="0" eaLnBrk="1" fontAlgn="auto" latinLnBrk="0" hangingPunct="1">
              <a:lnSpc>
                <a:spcPts val="1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1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Roboto Bold"/>
              <a:cs typeface="Segoe UI" panose="020B0502040204020203" pitchFamily="34" charset="0"/>
              <a:sym typeface="Roboto Bold"/>
            </a:endParaRP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78EC04F6-3D69-035B-EC69-CF2C590F7DAD}"/>
              </a:ext>
            </a:extLst>
          </p:cNvPr>
          <p:cNvSpPr/>
          <p:nvPr userDrawn="1"/>
        </p:nvSpPr>
        <p:spPr>
          <a:xfrm>
            <a:off x="4705517" y="3197209"/>
            <a:ext cx="0" cy="342969"/>
          </a:xfrm>
          <a:prstGeom prst="line">
            <a:avLst/>
          </a:prstGeom>
          <a:ln w="12700">
            <a:solidFill>
              <a:srgbClr val="E6E6E6"/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94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8" name="Marketing">
            <a:extLst>
              <a:ext uri="{FF2B5EF4-FFF2-40B4-BE49-F238E27FC236}">
                <a16:creationId xmlns:a16="http://schemas.microsoft.com/office/drawing/2014/main" id="{0563CD00-A646-705F-4B8D-10A0D48EB54E}"/>
              </a:ext>
            </a:extLst>
          </p:cNvPr>
          <p:cNvSpPr/>
          <p:nvPr userDrawn="1"/>
        </p:nvSpPr>
        <p:spPr>
          <a:xfrm>
            <a:off x="4292123" y="2861508"/>
            <a:ext cx="3604821" cy="74213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18274" tIns="0" rIns="0" bIns="0" anchor="ctr"/>
          <a:lstStyle>
            <a:lvl1pPr>
              <a:defRPr sz="2000" b="0">
                <a:solidFill>
                  <a:srgbClr val="F7F9FF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0" marR="0" lvl="0" indent="0" algn="l" defTabSz="914005" rtl="0" eaLnBrk="1" fontAlgn="auto" latinLnBrk="0" hangingPunct="1">
              <a:lnSpc>
                <a:spcPts val="1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1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Roboto Bold"/>
              <a:cs typeface="Segoe UI" panose="020B0502040204020203" pitchFamily="34" charset="0"/>
              <a:sym typeface="Roboto Bold"/>
            </a:endParaRPr>
          </a:p>
        </p:txBody>
      </p:sp>
      <p:sp>
        <p:nvSpPr>
          <p:cNvPr id="11" name="Marketing">
            <a:extLst>
              <a:ext uri="{FF2B5EF4-FFF2-40B4-BE49-F238E27FC236}">
                <a16:creationId xmlns:a16="http://schemas.microsoft.com/office/drawing/2014/main" id="{95052493-BDAA-FB69-A7C3-A1515A7EA30A}"/>
              </a:ext>
            </a:extLst>
          </p:cNvPr>
          <p:cNvSpPr/>
          <p:nvPr userDrawn="1"/>
        </p:nvSpPr>
        <p:spPr>
          <a:xfrm>
            <a:off x="7896943" y="2861508"/>
            <a:ext cx="3666519" cy="742130"/>
          </a:xfrm>
          <a:prstGeom prst="rect">
            <a:avLst/>
          </a:prstGeom>
          <a:solidFill>
            <a:schemeClr val="accent5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18274" tIns="0" rIns="0" bIns="0" anchor="ctr"/>
          <a:lstStyle>
            <a:lvl1pPr>
              <a:defRPr sz="2000" b="0">
                <a:solidFill>
                  <a:srgbClr val="F7F9FF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0" marR="0" lvl="0" indent="0" algn="l" defTabSz="914005" rtl="0" eaLnBrk="1" fontAlgn="auto" latinLnBrk="0" hangingPunct="1">
              <a:lnSpc>
                <a:spcPts val="19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1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entury Gothic" panose="020B0502020202020204" pitchFamily="34" charset="0"/>
              <a:ea typeface="Roboto Bold"/>
              <a:cs typeface="Segoe UI" panose="020B0502040204020203" pitchFamily="34" charset="0"/>
              <a:sym typeface="Roboto Bold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B73D0F9-A4E1-95B1-0F7A-31D524DFA6C0}"/>
              </a:ext>
            </a:extLst>
          </p:cNvPr>
          <p:cNvCxnSpPr>
            <a:cxnSpLocks/>
          </p:cNvCxnSpPr>
          <p:nvPr userDrawn="1"/>
        </p:nvCxnSpPr>
        <p:spPr>
          <a:xfrm>
            <a:off x="4305721" y="3603638"/>
            <a:ext cx="0" cy="261958"/>
          </a:xfrm>
          <a:prstGeom prst="line">
            <a:avLst/>
          </a:prstGeom>
          <a:ln w="47625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EA4DE1F-CB48-D282-A22F-2378985CB77E}"/>
              </a:ext>
            </a:extLst>
          </p:cNvPr>
          <p:cNvCxnSpPr>
            <a:cxnSpLocks/>
          </p:cNvCxnSpPr>
          <p:nvPr userDrawn="1"/>
        </p:nvCxnSpPr>
        <p:spPr>
          <a:xfrm>
            <a:off x="644052" y="3603638"/>
            <a:ext cx="0" cy="261958"/>
          </a:xfrm>
          <a:prstGeom prst="line">
            <a:avLst/>
          </a:prstGeom>
          <a:ln w="47625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FB9B99A-8399-D1AA-122E-0BD89172BEF7}"/>
              </a:ext>
            </a:extLst>
          </p:cNvPr>
          <p:cNvCxnSpPr>
            <a:cxnSpLocks/>
          </p:cNvCxnSpPr>
          <p:nvPr userDrawn="1"/>
        </p:nvCxnSpPr>
        <p:spPr>
          <a:xfrm>
            <a:off x="7910284" y="3603638"/>
            <a:ext cx="0" cy="261958"/>
          </a:xfrm>
          <a:prstGeom prst="line">
            <a:avLst/>
          </a:prstGeom>
          <a:ln w="47625"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2E33CEF-4510-73BB-6B32-2E522CF7E91A}"/>
              </a:ext>
            </a:extLst>
          </p:cNvPr>
          <p:cNvCxnSpPr>
            <a:cxnSpLocks/>
          </p:cNvCxnSpPr>
          <p:nvPr userDrawn="1"/>
        </p:nvCxnSpPr>
        <p:spPr>
          <a:xfrm>
            <a:off x="638527" y="2599468"/>
            <a:ext cx="2088201" cy="0"/>
          </a:xfrm>
          <a:prstGeom prst="line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1547A31D-69D5-0AEF-E5B8-8491FCB7EE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8425" y="4166765"/>
            <a:ext cx="3400189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92B6F3D-2F3F-53AF-8374-91EBAA37815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48425" y="3813736"/>
            <a:ext cx="3400189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516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5DEAFCEA-CCAD-01B8-B21A-F9C2E72BC32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48426" y="3009291"/>
            <a:ext cx="3195304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516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53165AE0-39A9-291A-0B80-971836566F4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47162" y="4166765"/>
            <a:ext cx="3400189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CCE8A2D1-0977-787E-C604-F2F7B56347D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447162" y="3813736"/>
            <a:ext cx="3400189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516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E08CF173-4C30-27D8-5FD4-9D84A4C6FEC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47162" y="3009291"/>
            <a:ext cx="3244637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516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5CCA5BB9-4ABA-DA80-72CC-C86EA6817B8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056770" y="4166765"/>
            <a:ext cx="3400189" cy="2076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213" b="0" i="0" spc="-6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2D1C3F84-8E02-7C2B-50FF-A0DF6D22BD3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056770" y="3813736"/>
            <a:ext cx="3400189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516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810B67F5-21AB-3C70-E3C2-56DF010DBE3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056770" y="3009291"/>
            <a:ext cx="3286805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516" b="0" i="0" spc="-6" baseline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55641E2A-38F9-FAB5-430C-8367DFB8E6D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43541" y="1819385"/>
            <a:ext cx="3400189" cy="2308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758"/>
              </a:lnSpc>
              <a:buFontTx/>
              <a:buNone/>
              <a:defRPr sz="1516" b="0" i="0" spc="-6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65A8651-2D6B-2504-9ACA-EB86F73339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02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 with icon - 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824119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241" y="1588932"/>
            <a:ext cx="4534108" cy="13435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850" b="1" i="0" spc="-91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Enter your headline he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8511" y="1588932"/>
            <a:ext cx="4441846" cy="2239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Clr>
                <a:schemeClr val="bg2"/>
              </a:buClr>
              <a:buFontTx/>
              <a:buNone/>
              <a:defRPr sz="1455" b="0" i="0" u="none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CEA9EA5-8BAD-6F4D-B8F1-BDF49DAC0F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5267"/>
            <a:ext cx="1244575" cy="297759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B061BDE-3DCE-75A3-BD9A-BC1AB2FBF7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39721" y="4127614"/>
            <a:ext cx="1222569" cy="122240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98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97EC7D44-7AEC-A503-AB79-CDED390BDB9B}"/>
              </a:ext>
            </a:extLst>
          </p:cNvPr>
          <p:cNvSpPr/>
          <p:nvPr userDrawn="1"/>
        </p:nvSpPr>
        <p:spPr>
          <a:xfrm rot="10800000" flipH="1">
            <a:off x="5746678" y="1626138"/>
            <a:ext cx="28603" cy="3723884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25400">
            <a:solidFill>
              <a:srgbClr val="00D7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FDD5B24-EF7E-4291-D6D9-AA77CDC81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724" y="6314726"/>
            <a:ext cx="584423" cy="205121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7579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gallery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930664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112091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02D14F16-7D9D-1D4D-BEC4-455E64683E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1530009"/>
            <a:ext cx="5457760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43414FD-AD1A-2E28-4B8A-2965C45ECB53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637834" y="272921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7AB183AE-EE77-0249-81DD-071AB4AD23E8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8577398" y="272921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4BF4EBA9-70D4-CE72-9D36-C7B3B3FC12BB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1770305" y="272921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2DC76B00-1ED4-9C60-144C-C283FDBDF8C6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2907476" y="272921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7E8871BC-B41B-07DB-8D74-3925328E6F25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039947" y="272921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266AFBDE-0A1E-4B43-6C47-97AFE1149AF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181816" y="272921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43857EB8-DE5E-8501-666D-17B1F26F11A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6309589" y="272921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1DE99BD2-49C0-0D0C-0568-A3A3C77818A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7449626" y="272921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4EA82821-F1C7-B45A-6610-2E95696314F1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9714569" y="272921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8" name="Picture Placeholder 6">
            <a:extLst>
              <a:ext uri="{FF2B5EF4-FFF2-40B4-BE49-F238E27FC236}">
                <a16:creationId xmlns:a16="http://schemas.microsoft.com/office/drawing/2014/main" id="{5026539C-C862-1E58-E39C-403849AC8C1E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0851739" y="2729213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49" name="Picture Placeholder 6">
            <a:extLst>
              <a:ext uri="{FF2B5EF4-FFF2-40B4-BE49-F238E27FC236}">
                <a16:creationId xmlns:a16="http://schemas.microsoft.com/office/drawing/2014/main" id="{57F244D3-1EAC-689D-F98B-24D961AB8DAC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37834" y="376617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0" name="Picture Placeholder 6">
            <a:extLst>
              <a:ext uri="{FF2B5EF4-FFF2-40B4-BE49-F238E27FC236}">
                <a16:creationId xmlns:a16="http://schemas.microsoft.com/office/drawing/2014/main" id="{C9CF7BB4-1A63-B5E5-34E0-3A526B31FF40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8577398" y="376617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1" name="Picture Placeholder 6">
            <a:extLst>
              <a:ext uri="{FF2B5EF4-FFF2-40B4-BE49-F238E27FC236}">
                <a16:creationId xmlns:a16="http://schemas.microsoft.com/office/drawing/2014/main" id="{754545A1-8175-C50F-CBC8-E48885700902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1770305" y="376617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2" name="Picture Placeholder 6">
            <a:extLst>
              <a:ext uri="{FF2B5EF4-FFF2-40B4-BE49-F238E27FC236}">
                <a16:creationId xmlns:a16="http://schemas.microsoft.com/office/drawing/2014/main" id="{8C318E5F-3EA1-BAE9-C0FA-00324B5A9C7F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2907476" y="376617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3" name="Picture Placeholder 6">
            <a:extLst>
              <a:ext uri="{FF2B5EF4-FFF2-40B4-BE49-F238E27FC236}">
                <a16:creationId xmlns:a16="http://schemas.microsoft.com/office/drawing/2014/main" id="{F8F61B46-9516-156B-810D-65C39BF4F6C7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4039947" y="376617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4" name="Picture Placeholder 6">
            <a:extLst>
              <a:ext uri="{FF2B5EF4-FFF2-40B4-BE49-F238E27FC236}">
                <a16:creationId xmlns:a16="http://schemas.microsoft.com/office/drawing/2014/main" id="{3D0F266F-88BB-8790-4B96-1713C5A97DE4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5181816" y="376617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5" name="Picture Placeholder 6">
            <a:extLst>
              <a:ext uri="{FF2B5EF4-FFF2-40B4-BE49-F238E27FC236}">
                <a16:creationId xmlns:a16="http://schemas.microsoft.com/office/drawing/2014/main" id="{181305F1-AABF-4D01-6EE6-FEA5356E4823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6309589" y="376617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6" name="Picture Placeholder 6">
            <a:extLst>
              <a:ext uri="{FF2B5EF4-FFF2-40B4-BE49-F238E27FC236}">
                <a16:creationId xmlns:a16="http://schemas.microsoft.com/office/drawing/2014/main" id="{B22EAB78-0393-459F-FF6A-66FD6E065DB0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7449626" y="376617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7" name="Picture Placeholder 6">
            <a:extLst>
              <a:ext uri="{FF2B5EF4-FFF2-40B4-BE49-F238E27FC236}">
                <a16:creationId xmlns:a16="http://schemas.microsoft.com/office/drawing/2014/main" id="{C44AAAFF-37CA-5EBD-1C78-4619FDBB816B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9714569" y="376617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1068E9B4-0CC2-DDD3-B385-346AA067E3D4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10851739" y="3766175"/>
            <a:ext cx="699022" cy="699787"/>
          </a:xfrm>
        </p:spPr>
        <p:txBody>
          <a:bodyPr>
            <a:normAutofit/>
          </a:bodyPr>
          <a:lstStyle>
            <a:lvl1pPr marL="0" indent="0" algn="ctr">
              <a:buNone/>
              <a:defRPr sz="970">
                <a:solidFill>
                  <a:schemeClr val="bg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2BBDFD9-326B-EB89-AD75-D66DA09C91C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63462" y="270118"/>
            <a:ext cx="325666" cy="3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1652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hank You 1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107134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 Pro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C38356E-37D8-274C-8282-EA5D740D86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91746" y="3221164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b="1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FC07D07-4377-4F82-C1E2-B02F95012A0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5267"/>
            <a:ext cx="1244575" cy="297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3239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hank You 1 with full image background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5">
            <a:extLst>
              <a:ext uri="{FF2B5EF4-FFF2-40B4-BE49-F238E27FC236}">
                <a16:creationId xmlns:a16="http://schemas.microsoft.com/office/drawing/2014/main" id="{069F2F01-08EB-4AF2-91C7-34B7E9B57B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12192000" cy="68580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107134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 Pro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C38356E-37D8-274C-8282-EA5D740D86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91746" y="3221164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b="1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FE7EA0C-D0CB-5F65-2EDB-51BD6170C62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5267"/>
            <a:ext cx="1244575" cy="297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0435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2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54AD4F78-BEF8-D9FD-D559-45235D3BC3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12192000" cy="68580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806127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2604440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0655352-5B9D-D34D-9723-5B64120E16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5351" y="3652270"/>
            <a:ext cx="8408107" cy="37842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304" b="0" i="0">
                <a:solidFill>
                  <a:srgbClr val="00D700"/>
                </a:solidFill>
                <a:latin typeface="Century Gothic" panose="020B0502020202020204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01BFC3-643A-1C13-30B0-B4D312DAF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41" y="1403248"/>
            <a:ext cx="5457759" cy="13434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850" b="1" i="0" spc="-91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FFC4C53-2ACE-B356-571E-0E95EA166A4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5267"/>
            <a:ext cx="1244575" cy="297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0709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3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4FB3EF8A-708F-9BDD-499C-372BCB404FD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12192000" cy="68580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97045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1530" y="1907966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type your customised thank you message.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529" y="1492292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b="1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type thank you message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CBD7D218-5780-B74E-AE12-81ACE0A03D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1529" y="2862830"/>
            <a:ext cx="8408507" cy="39271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425" b="0" i="0">
                <a:solidFill>
                  <a:srgbClr val="00D70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8B5C7AEA-0EA9-CF44-99D4-E0005D46D9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950" y="3473839"/>
            <a:ext cx="4325601" cy="27839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19" b="1" i="0">
                <a:solidFill>
                  <a:schemeClr val="bg2"/>
                </a:solidFill>
                <a:latin typeface="Century Gothic" panose="020B0502020202020204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53AE8752-D388-7E44-B840-642C87F352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529" y="3772699"/>
            <a:ext cx="4325601" cy="29340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940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Title | </a:t>
            </a:r>
            <a:r>
              <a:rPr lang="en-US" err="1"/>
              <a:t>Versent</a:t>
            </a:r>
            <a:r>
              <a:rPr lang="en-US"/>
              <a:t> Department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675AA367-1416-7443-B34F-A6A5E0AA20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858" y="4230874"/>
            <a:ext cx="4333272" cy="26446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19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err="1"/>
              <a:t>email@versent.com.au</a:t>
            </a:r>
            <a:endParaRPr lang="en-US"/>
          </a:p>
        </p:txBody>
      </p:sp>
      <p:sp>
        <p:nvSpPr>
          <p:cNvPr id="34" name="Text Placeholder 23">
            <a:extLst>
              <a:ext uri="{FF2B5EF4-FFF2-40B4-BE49-F238E27FC236}">
                <a16:creationId xmlns:a16="http://schemas.microsoft.com/office/drawing/2014/main" id="{7C063797-E819-664E-A2BC-B9774163F6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858" y="4517982"/>
            <a:ext cx="4333272" cy="26446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19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0402 Phone Number</a:t>
            </a:r>
          </a:p>
        </p:txBody>
      </p:sp>
      <p:sp>
        <p:nvSpPr>
          <p:cNvPr id="39" name="Text Placeholder 23">
            <a:extLst>
              <a:ext uri="{FF2B5EF4-FFF2-40B4-BE49-F238E27FC236}">
                <a16:creationId xmlns:a16="http://schemas.microsoft.com/office/drawing/2014/main" id="{3E53F6D2-01F5-F34B-9F91-F39A2A274C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62735" y="3473839"/>
            <a:ext cx="4325601" cy="27839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19" b="1" i="0">
                <a:solidFill>
                  <a:schemeClr val="bg2"/>
                </a:solidFill>
                <a:latin typeface="Century Gothic" panose="020B0502020202020204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40" name="Text Placeholder 23">
            <a:extLst>
              <a:ext uri="{FF2B5EF4-FFF2-40B4-BE49-F238E27FC236}">
                <a16:creationId xmlns:a16="http://schemas.microsoft.com/office/drawing/2014/main" id="{245999CD-42AD-334D-9018-5864CDAECB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69313" y="3772699"/>
            <a:ext cx="4325601" cy="29340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940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Title | </a:t>
            </a:r>
            <a:r>
              <a:rPr lang="en-US" err="1"/>
              <a:t>Versent</a:t>
            </a:r>
            <a:r>
              <a:rPr lang="en-US"/>
              <a:t> Department</a:t>
            </a:r>
          </a:p>
        </p:txBody>
      </p:sp>
      <p:sp>
        <p:nvSpPr>
          <p:cNvPr id="41" name="Text Placeholder 23">
            <a:extLst>
              <a:ext uri="{FF2B5EF4-FFF2-40B4-BE49-F238E27FC236}">
                <a16:creationId xmlns:a16="http://schemas.microsoft.com/office/drawing/2014/main" id="{E02AF20B-F088-CE47-B331-2ACDC76D17E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61642" y="4230874"/>
            <a:ext cx="4333272" cy="26446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19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err="1"/>
              <a:t>email@versent.com.au</a:t>
            </a:r>
            <a:endParaRPr lang="en-US"/>
          </a:p>
        </p:txBody>
      </p:sp>
      <p:sp>
        <p:nvSpPr>
          <p:cNvPr id="42" name="Text Placeholder 23">
            <a:extLst>
              <a:ext uri="{FF2B5EF4-FFF2-40B4-BE49-F238E27FC236}">
                <a16:creationId xmlns:a16="http://schemas.microsoft.com/office/drawing/2014/main" id="{A8F9580F-A174-9244-AA30-62FA44B23E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61642" y="4517982"/>
            <a:ext cx="4333272" cy="26446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19" b="0" i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0402 Phone Number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1A8AA8E9-B5E1-6C92-C44C-701B2DAE7459}"/>
              </a:ext>
            </a:extLst>
          </p:cNvPr>
          <p:cNvSpPr/>
          <p:nvPr userDrawn="1"/>
        </p:nvSpPr>
        <p:spPr>
          <a:xfrm>
            <a:off x="4726104" y="3473839"/>
            <a:ext cx="27724" cy="1308608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25400">
            <a:solidFill>
              <a:srgbClr val="00D7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2AE78F-3E2B-F1C0-BC45-40C718E1148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5267"/>
            <a:ext cx="1244575" cy="297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483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33" b="1" i="0">
                <a:solidFill>
                  <a:srgbClr val="00D700"/>
                </a:solidFill>
                <a:latin typeface="Century Gothic"/>
                <a:cs typeface="Century Gothic"/>
              </a:defRPr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5">
              <a:buClrTx/>
              <a:defRPr/>
            </a:pPr>
            <a:endParaRPr lang="en-AU" sz="1799" kern="1200">
              <a:solidFill>
                <a:srgbClr val="171717">
                  <a:tint val="75000"/>
                </a:srgbClr>
              </a:solidFill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5">
              <a:buClrTx/>
              <a:defRPr/>
            </a:pPr>
            <a:fld id="{1D8BD707-D9CF-40AE-B4C6-C98DA3205C09}" type="datetimeFigureOut">
              <a:rPr lang="en-US" sz="1799" kern="1200" smtClean="0">
                <a:solidFill>
                  <a:srgbClr val="171717">
                    <a:tint val="75000"/>
                  </a:srgbClr>
                </a:solidFill>
                <a:latin typeface="Cambria" panose="02040503050406030204"/>
                <a:ea typeface="+mn-ea"/>
                <a:cs typeface="+mn-cs"/>
              </a:rPr>
              <a:pPr defTabSz="914005">
                <a:buClrTx/>
                <a:defRPr/>
              </a:pPr>
              <a:t>10/5/23</a:t>
            </a:fld>
            <a:endParaRPr lang="en-US" sz="1799" kern="1200">
              <a:solidFill>
                <a:srgbClr val="171717">
                  <a:tint val="75000"/>
                </a:srgbClr>
              </a:solidFill>
              <a:latin typeface="Cambria" panose="02040503050406030204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42775" y="6312069"/>
            <a:ext cx="584469" cy="116635"/>
          </a:xfrm>
        </p:spPr>
        <p:txBody>
          <a:bodyPr lIns="0" tIns="0" rIns="0" bIns="0"/>
          <a:lstStyle>
            <a:lvl1pPr>
              <a:defRPr sz="758" b="0" i="0">
                <a:solidFill>
                  <a:srgbClr val="646363"/>
                </a:solidFill>
                <a:latin typeface="Century Gothic"/>
                <a:cs typeface="Century Gothic"/>
              </a:defRPr>
            </a:lvl1pPr>
          </a:lstStyle>
          <a:p>
            <a:pPr marL="23091" defTabSz="914005">
              <a:spcBef>
                <a:spcPts val="49"/>
              </a:spcBef>
              <a:buClrTx/>
              <a:defRPr/>
            </a:pPr>
            <a:fld id="{81D60167-4931-47E6-BA6A-407CBD079E47}" type="slidenum">
              <a:rPr lang="en-AU" kern="1200" spc="-15" smtClean="0">
                <a:ea typeface="+mn-ea"/>
              </a:rPr>
              <a:pPr marL="23091" defTabSz="914005">
                <a:spcBef>
                  <a:spcPts val="49"/>
                </a:spcBef>
                <a:buClrTx/>
                <a:defRPr/>
              </a:pPr>
              <a:t>‹#›</a:t>
            </a:fld>
            <a:endParaRPr lang="en-AU" kern="1200" spc="-15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573301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2586494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B80D8FA-A9F2-874C-B8F5-7A176A7DC1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933"/>
            <a:ext cx="12192000" cy="6857097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241" y="2782874"/>
            <a:ext cx="9597785" cy="17130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6184" b="0" i="0" spc="-91">
                <a:solidFill>
                  <a:schemeClr val="bg2"/>
                </a:solidFill>
                <a:latin typeface="Segoe Pro Semibold" panose="020B0502040504020203" pitchFamily="34" charset="0"/>
              </a:defRPr>
            </a:lvl1pPr>
          </a:lstStyle>
          <a:p>
            <a:r>
              <a:rPr lang="en-US"/>
              <a:t>Click to add presentation head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240" y="4506195"/>
            <a:ext cx="5457759" cy="480810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2183" b="0" i="0">
                <a:solidFill>
                  <a:schemeClr val="bg2"/>
                </a:solidFill>
                <a:latin typeface="Segoe Pro" panose="020B0502040504020203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add presentation subhead</a:t>
            </a: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CEA9EA5-8BAD-6F4D-B8F1-BDF49DAC0F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241" y="635268"/>
            <a:ext cx="1268367" cy="29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8797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Full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4E2CBCFE-19CE-0643-B52D-5DE5C08B5C8E}"/>
              </a:ext>
            </a:extLst>
          </p:cNvPr>
          <p:cNvGrpSpPr/>
          <p:nvPr userDrawn="1"/>
        </p:nvGrpSpPr>
        <p:grpSpPr>
          <a:xfrm>
            <a:off x="0" y="0"/>
            <a:ext cx="12192000" cy="6858001"/>
            <a:chOff x="0" y="0"/>
            <a:chExt cx="20105688" cy="1131093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648E140-1D1A-8B47-9825-04F3D792A363}"/>
                </a:ext>
              </a:extLst>
            </p:cNvPr>
            <p:cNvSpPr/>
            <p:nvPr userDrawn="1"/>
          </p:nvSpPr>
          <p:spPr>
            <a:xfrm>
              <a:off x="0" y="0"/>
              <a:ext cx="20105687" cy="11310938"/>
            </a:xfrm>
            <a:prstGeom prst="rect">
              <a:avLst/>
            </a:prstGeom>
            <a:gradFill>
              <a:gsLst>
                <a:gs pos="46000">
                  <a:srgbClr val="475560"/>
                </a:gs>
                <a:gs pos="8000">
                  <a:srgbClr val="98CA3D">
                    <a:lumMod val="100000"/>
                  </a:srgbClr>
                </a:gs>
              </a:gsLst>
              <a:lin ang="13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49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47B8EDA-0E3D-8F4E-812D-986537F9E358}"/>
                </a:ext>
              </a:extLst>
            </p:cNvPr>
            <p:cNvSpPr/>
            <p:nvPr userDrawn="1"/>
          </p:nvSpPr>
          <p:spPr>
            <a:xfrm>
              <a:off x="0" y="1"/>
              <a:ext cx="20105688" cy="11310938"/>
            </a:xfrm>
            <a:prstGeom prst="rect">
              <a:avLst/>
            </a:prstGeom>
            <a:gradFill>
              <a:gsLst>
                <a:gs pos="46000">
                  <a:srgbClr val="475560"/>
                </a:gs>
                <a:gs pos="8000">
                  <a:srgbClr val="475560">
                    <a:alpha val="57000"/>
                  </a:srgbClr>
                </a:gs>
              </a:gsLst>
              <a:lin ang="13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49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4507177-106F-2F4C-B723-A64D49CB8E22}"/>
                </a:ext>
              </a:extLst>
            </p:cNvPr>
            <p:cNvSpPr/>
            <p:nvPr userDrawn="1"/>
          </p:nvSpPr>
          <p:spPr>
            <a:xfrm>
              <a:off x="14318731" y="5523234"/>
              <a:ext cx="5786956" cy="5787704"/>
            </a:xfrm>
            <a:prstGeom prst="rect">
              <a:avLst/>
            </a:prstGeom>
            <a:gradFill>
              <a:gsLst>
                <a:gs pos="46000">
                  <a:srgbClr val="98CA3D">
                    <a:alpha val="0"/>
                  </a:srgbClr>
                </a:gs>
                <a:gs pos="0">
                  <a:srgbClr val="98CA3D">
                    <a:lumMod val="100000"/>
                    <a:alpha val="39767"/>
                  </a:srgbClr>
                </a:gs>
              </a:gsLst>
              <a:lin ang="13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49"/>
            </a:p>
          </p:txBody>
        </p:sp>
      </p:grp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92086E8-EA30-9341-823A-52802778C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641142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92086E8-EA30-9341-823A-52802778C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D5589D84-7296-A24C-8EF2-793AACFBD0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1530" y="1077254"/>
            <a:ext cx="8408508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i="1">
                <a:solidFill>
                  <a:schemeClr val="accent5"/>
                </a:solidFill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type your sub-head or introduction paragraph.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36343-34F8-2E45-90CF-439AB48F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D36CE76-22C5-DB4F-AC63-D47C27EA783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529" y="661581"/>
            <a:ext cx="8408508" cy="4156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TYPE HEADLINE</a:t>
            </a: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56481547-9966-1B49-BBAF-928CDFAA4203}"/>
              </a:ext>
            </a:extLst>
          </p:cNvPr>
          <p:cNvSpPr/>
          <p:nvPr userDrawn="1"/>
        </p:nvSpPr>
        <p:spPr>
          <a:xfrm>
            <a:off x="634951" y="482227"/>
            <a:ext cx="508281" cy="63527"/>
          </a:xfrm>
          <a:custGeom>
            <a:avLst/>
            <a:gdLst/>
            <a:ahLst/>
            <a:cxnLst/>
            <a:rect l="l" t="t" r="r" b="b"/>
            <a:pathLst>
              <a:path w="838200" h="104775">
                <a:moveTo>
                  <a:pt x="837670" y="0"/>
                </a:moveTo>
                <a:lnTo>
                  <a:pt x="0" y="0"/>
                </a:lnTo>
                <a:lnTo>
                  <a:pt x="0" y="104708"/>
                </a:lnTo>
                <a:lnTo>
                  <a:pt x="837670" y="104708"/>
                </a:lnTo>
                <a:lnTo>
                  <a:pt x="837670" y="0"/>
                </a:lnTo>
                <a:close/>
              </a:path>
            </a:pathLst>
          </a:custGeom>
          <a:solidFill>
            <a:srgbClr val="98CA3E"/>
          </a:solidFill>
        </p:spPr>
        <p:txBody>
          <a:bodyPr wrap="square" lIns="0" tIns="0" rIns="0" bIns="0" rtlCol="0"/>
          <a:lstStyle/>
          <a:p>
            <a:endParaRPr sz="819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68E5B1-9A90-1145-8DDF-3A9A3FEC5A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3018" y="6222235"/>
            <a:ext cx="1268367" cy="29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7088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 with icon - Celeste">
    <p:bg>
      <p:bgPr>
        <a:solidFill>
          <a:srgbClr val="D4D3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824119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41" y="1588932"/>
            <a:ext cx="4534108" cy="20151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850" b="1" i="0" spc="-91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AE5222-945E-0D4B-AA2C-493E8EDE5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8511" y="1588932"/>
            <a:ext cx="4441846" cy="2239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Clr>
                <a:schemeClr val="bg2"/>
              </a:buClr>
              <a:buFontTx/>
              <a:buNone/>
              <a:defRPr sz="1455" b="0" i="0" u="none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B061BDE-3DCE-75A3-BD9A-BC1AB2FBF7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39721" y="4127614"/>
            <a:ext cx="1222569" cy="122240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98">
                <a:solidFill>
                  <a:srgbClr val="171717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3C26EC6-6E50-9AB1-F518-46107572BFA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8251"/>
            <a:ext cx="1244575" cy="29179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073FD6D-ECEF-5705-6C58-54A8ED02A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724" y="6314726"/>
            <a:ext cx="584423" cy="205121"/>
          </a:xfrm>
        </p:spPr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4" name="object 14">
            <a:extLst>
              <a:ext uri="{FF2B5EF4-FFF2-40B4-BE49-F238E27FC236}">
                <a16:creationId xmlns:a16="http://schemas.microsoft.com/office/drawing/2014/main" id="{4B8566EE-1038-4959-A565-0E28C95ED569}"/>
              </a:ext>
            </a:extLst>
          </p:cNvPr>
          <p:cNvSpPr/>
          <p:nvPr userDrawn="1"/>
        </p:nvSpPr>
        <p:spPr>
          <a:xfrm rot="10800000" flipH="1">
            <a:off x="5746678" y="1626138"/>
            <a:ext cx="28603" cy="3723884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3733415"/>
                </a:moveTo>
                <a:lnTo>
                  <a:pt x="0" y="0"/>
                </a:lnTo>
              </a:path>
            </a:pathLst>
          </a:custGeom>
          <a:ln w="31750">
            <a:solidFill>
              <a:srgbClr val="17171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45004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 full page - Black"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380398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0CEA9EA5-8BAD-6F4D-B8F1-BDF49DAC0F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5267"/>
            <a:ext cx="1244575" cy="297759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70546C7-C628-DD51-B309-485176D04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724" y="6314726"/>
            <a:ext cx="584423" cy="205121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solidFill>
                  <a:srgbClr val="FEFFFF"/>
                </a:solidFill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solidFill>
                <a:srgbClr val="FEFFFF"/>
              </a:solidFill>
              <a:ea typeface="+mn-ea"/>
              <a:cs typeface="+mn-cs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D8F448D-1F4F-B103-3F03-90EBF8DE6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443" y="1588933"/>
            <a:ext cx="7772429" cy="13434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850" b="1" i="0" spc="-9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A052CEE-A964-9691-6185-F78911633C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3197697"/>
            <a:ext cx="10737974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BFDBCE20-5BA9-636D-A51C-B83724A3F6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3757344"/>
            <a:ext cx="10741265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537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 full pag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380398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443" y="1588933"/>
            <a:ext cx="7772429" cy="13434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850" b="1" i="0" spc="-91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A091225-AF3C-13C5-4031-075EF7C24A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8251"/>
            <a:ext cx="1244575" cy="29179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0D9424-1B02-CABA-D5D4-7AF4160976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724" y="6314726"/>
            <a:ext cx="584423" cy="205121"/>
          </a:xfrm>
        </p:spPr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FE078006-B7B0-41CC-5D37-6E41AA8173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3197697"/>
            <a:ext cx="10737974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0EFCE679-7674-507D-0A7A-BBDED1647D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3757344"/>
            <a:ext cx="10741265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7259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 full page - Celeste">
    <p:bg>
      <p:bgPr>
        <a:solidFill>
          <a:srgbClr val="D4D3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FFEEC3-E114-5543-BFE0-144A6F8F7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380398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FFEEC3-E114-5543-BFE0-144A6F8F7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B007EB-3880-0043-A94E-A2580C0A0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443" y="1588933"/>
            <a:ext cx="7772429" cy="13434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4850" b="1" i="0" spc="-91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A091225-AF3C-13C5-4031-075EF7C24A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50136" y="638251"/>
            <a:ext cx="1244575" cy="291792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0D9424-1B02-CABA-D5D4-7AF4160976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724" y="6314726"/>
            <a:ext cx="584423" cy="205121"/>
          </a:xfrm>
        </p:spPr>
        <p:txBody>
          <a:bodyPr/>
          <a:lstStyle>
            <a:lvl1pPr>
              <a:defRPr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EFC1CAF-4223-63BA-D7AA-BD4C8E71D1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1530" y="3197697"/>
            <a:ext cx="10737974" cy="406128"/>
          </a:xfrm>
        </p:spPr>
        <p:txBody>
          <a:bodyPr wrap="square" lIns="0" tIns="72000" rIns="0" bIns="0">
            <a:spAutoFit/>
          </a:bodyPr>
          <a:lstStyle>
            <a:lvl1pPr marL="0" indent="0" algn="l">
              <a:lnSpc>
                <a:spcPts val="2606"/>
              </a:lnSpc>
              <a:buNone/>
              <a:defRPr sz="2214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9" indent="0" algn="ctr">
              <a:buNone/>
              <a:defRPr sz="1888"/>
            </a:lvl2pPr>
            <a:lvl3pPr marL="863375" indent="0" algn="ctr">
              <a:buNone/>
              <a:defRPr sz="1700"/>
            </a:lvl3pPr>
            <a:lvl4pPr marL="1295064" indent="0" algn="ctr">
              <a:buNone/>
              <a:defRPr sz="1511"/>
            </a:lvl4pPr>
            <a:lvl5pPr marL="1726753" indent="0" algn="ctr">
              <a:buNone/>
              <a:defRPr sz="1511"/>
            </a:lvl5pPr>
            <a:lvl6pPr marL="2158440" indent="0" algn="ctr">
              <a:buNone/>
              <a:defRPr sz="1511"/>
            </a:lvl6pPr>
            <a:lvl7pPr marL="2590128" indent="0" algn="ctr">
              <a:buNone/>
              <a:defRPr sz="1511"/>
            </a:lvl7pPr>
            <a:lvl8pPr marL="3021816" indent="0" algn="ctr">
              <a:buNone/>
              <a:defRPr sz="1511"/>
            </a:lvl8pPr>
            <a:lvl9pPr marL="3453504" indent="0" algn="ctr">
              <a:buNone/>
              <a:defRPr sz="1511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5107CE8E-98E3-0052-C412-7EF45740FF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240" y="3757344"/>
            <a:ext cx="10741265" cy="455995"/>
          </a:xfrm>
        </p:spPr>
        <p:txBody>
          <a:bodyPr wrap="square" lIns="0" tIns="216000" rIns="0" bIns="0">
            <a:spAutoFit/>
          </a:bodyPr>
          <a:lstStyle>
            <a:lvl1pPr marL="0" indent="0">
              <a:lnSpc>
                <a:spcPts val="1970"/>
              </a:lnSpc>
              <a:buFontTx/>
              <a:buNone/>
              <a:defRPr sz="1600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  <a:lvl2pPr marL="431687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2pPr>
            <a:lvl3pPr marL="863375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3pPr>
            <a:lvl4pPr marL="1295064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4pPr>
            <a:lvl5pPr marL="1726751" indent="0">
              <a:buFontTx/>
              <a:buNone/>
              <a:defRPr sz="1455" b="0" i="0">
                <a:solidFill>
                  <a:schemeClr val="accent2"/>
                </a:solidFill>
                <a:latin typeface="Segoe Pro" panose="020B0502040504020203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4350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08A58A-4BDE-4248-A535-4564EEF536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894113218"/>
              </p:ext>
            </p:extLst>
          </p:nvPr>
        </p:nvGraphicFramePr>
        <p:xfrm>
          <a:off x="963" y="963"/>
          <a:ext cx="744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7772400" imgH="10058400" progId="TCLayout.ActiveDocument.1">
                  <p:embed/>
                </p:oleObj>
              </mc:Choice>
              <mc:Fallback>
                <p:oleObj name="think-cell Slide" r:id="rId60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08A58A-4BDE-4248-A535-4564EEF53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744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B468D9-BC81-3842-BD6F-C410FAF52A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723" y="1825626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E2B3B-A85C-6245-89D8-AE3DA9A874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2724" y="6314726"/>
            <a:ext cx="584423" cy="2051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333" b="0" i="0">
                <a:solidFill>
                  <a:srgbClr val="171717"/>
                </a:solidFill>
                <a:latin typeface="Century Gothic" panose="020B0502020202020204" pitchFamily="34" charset="0"/>
              </a:defRPr>
            </a:lvl1pPr>
          </a:lstStyle>
          <a:p>
            <a:pPr defTabSz="914005">
              <a:buClrTx/>
              <a:defRPr/>
            </a:pPr>
            <a:fld id="{4D36CE76-22C5-DB4F-AC63-D47C27EA783D}" type="slidenum">
              <a:rPr lang="en-US" kern="1200" smtClean="0">
                <a:ea typeface="+mn-ea"/>
                <a:cs typeface="+mn-cs"/>
              </a:rPr>
              <a:pPr defTabSz="914005">
                <a:buClrTx/>
                <a:defRPr/>
              </a:pPr>
              <a:t>‹#›</a:t>
            </a:fld>
            <a:endParaRPr lang="en-US" kern="1200">
              <a:ea typeface="+mn-ea"/>
              <a:cs typeface="+mn-cs"/>
            </a:endParaRPr>
          </a:p>
        </p:txBody>
      </p:sp>
      <p:sp>
        <p:nvSpPr>
          <p:cNvPr id="22" name="Title Placeholder 21">
            <a:extLst>
              <a:ext uri="{FF2B5EF4-FFF2-40B4-BE49-F238E27FC236}">
                <a16:creationId xmlns:a16="http://schemas.microsoft.com/office/drawing/2014/main" id="{4D95D0B4-2E04-B84D-A662-4CA4D6AD2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267" y="364799"/>
            <a:ext cx="10515057" cy="13263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929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</p:sldLayoutIdLst>
  <p:hf hdr="0" ftr="0" dt="0"/>
  <p:txStyles>
    <p:titleStyle>
      <a:lvl1pPr algn="l" defTabSz="863375" rtl="0" eaLnBrk="1" latinLnBrk="0" hangingPunct="1">
        <a:lnSpc>
          <a:spcPct val="90000"/>
        </a:lnSpc>
        <a:spcBef>
          <a:spcPct val="0"/>
        </a:spcBef>
        <a:buNone/>
        <a:defRPr sz="3001" b="0" i="0" kern="1200" spc="0" baseline="0">
          <a:solidFill>
            <a:srgbClr val="171717"/>
          </a:solidFill>
          <a:latin typeface="Century Gothic" panose="020B0502020202020204" pitchFamily="34" charset="0"/>
          <a:ea typeface="+mj-ea"/>
          <a:cs typeface="Segoe UI" panose="020B0502040204020203" pitchFamily="34" charset="0"/>
        </a:defRPr>
      </a:lvl1pPr>
    </p:titleStyle>
    <p:bodyStyle>
      <a:lvl1pPr marL="215843" indent="-215843" algn="l" defTabSz="863375" rtl="0" eaLnBrk="1" latinLnBrk="0" hangingPunct="1">
        <a:lnSpc>
          <a:spcPct val="90000"/>
        </a:lnSpc>
        <a:spcBef>
          <a:spcPts val="944"/>
        </a:spcBef>
        <a:buFont typeface="Arial" panose="020B0604020202020204" pitchFamily="34" charset="0"/>
        <a:buChar char="•"/>
        <a:defRPr sz="2643" b="0" i="0" kern="1200">
          <a:solidFill>
            <a:srgbClr val="171717"/>
          </a:solidFill>
          <a:latin typeface="Century Gothic" panose="020B0502020202020204" pitchFamily="34" charset="0"/>
          <a:ea typeface="+mn-ea"/>
          <a:cs typeface="Segoe UI" panose="020B0502040204020203" pitchFamily="34" charset="0"/>
        </a:defRPr>
      </a:lvl1pPr>
      <a:lvl2pPr marL="647532" indent="-215843" algn="l" defTabSz="86337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6" b="0" i="0" kern="1200">
          <a:solidFill>
            <a:srgbClr val="171717"/>
          </a:solidFill>
          <a:latin typeface="Century Gothic" panose="020B0502020202020204" pitchFamily="34" charset="0"/>
          <a:ea typeface="+mn-ea"/>
          <a:cs typeface="Segoe UI" panose="020B0502040204020203" pitchFamily="34" charset="0"/>
        </a:defRPr>
      </a:lvl2pPr>
      <a:lvl3pPr marL="1079219" indent="-215843" algn="l" defTabSz="86337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88" b="0" i="0" kern="1200">
          <a:solidFill>
            <a:srgbClr val="171717"/>
          </a:solidFill>
          <a:latin typeface="Century Gothic" panose="020B0502020202020204" pitchFamily="34" charset="0"/>
          <a:ea typeface="+mn-ea"/>
          <a:cs typeface="Segoe UI" panose="020B0502040204020203" pitchFamily="34" charset="0"/>
        </a:defRPr>
      </a:lvl3pPr>
      <a:lvl4pPr marL="1510908" indent="-215843" algn="l" defTabSz="86337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b="0" i="0" kern="1200">
          <a:solidFill>
            <a:srgbClr val="171717"/>
          </a:solidFill>
          <a:latin typeface="Century Gothic" panose="020B0502020202020204" pitchFamily="34" charset="0"/>
          <a:ea typeface="+mn-ea"/>
          <a:cs typeface="Segoe UI" panose="020B0502040204020203" pitchFamily="34" charset="0"/>
        </a:defRPr>
      </a:lvl4pPr>
      <a:lvl5pPr marL="1942596" indent="-215843" algn="l" defTabSz="86337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b="0" i="0" kern="1200">
          <a:solidFill>
            <a:srgbClr val="171717"/>
          </a:solidFill>
          <a:latin typeface="Century Gothic" panose="020B0502020202020204" pitchFamily="34" charset="0"/>
          <a:ea typeface="+mn-ea"/>
          <a:cs typeface="Segoe UI" panose="020B0502040204020203" pitchFamily="34" charset="0"/>
        </a:defRPr>
      </a:lvl5pPr>
      <a:lvl6pPr marL="2374284" indent="-215843" algn="l" defTabSz="86337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05972" indent="-215843" algn="l" defTabSz="86337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37661" indent="-215843" algn="l" defTabSz="86337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69349" indent="-215843" algn="l" defTabSz="86337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33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689" algn="l" defTabSz="8633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3375" algn="l" defTabSz="8633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5064" algn="l" defTabSz="8633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6753" algn="l" defTabSz="8633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58440" algn="l" defTabSz="8633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0128" algn="l" defTabSz="8633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1816" algn="l" defTabSz="8633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3504" algn="l" defTabSz="86337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63">
          <p15:clr>
            <a:srgbClr val="F26B43"/>
          </p15:clr>
        </p15:guide>
        <p15:guide id="2" pos="6333">
          <p15:clr>
            <a:srgbClr val="F26B43"/>
          </p15:clr>
        </p15:guide>
        <p15:guide id="3" orient="horz" pos="501">
          <p15:clr>
            <a:srgbClr val="F26B43"/>
          </p15:clr>
        </p15:guide>
        <p15:guide id="4" pos="5653">
          <p15:clr>
            <a:srgbClr val="F26B43"/>
          </p15:clr>
        </p15:guide>
        <p15:guide id="5" pos="7012">
          <p15:clr>
            <a:srgbClr val="F26B43"/>
          </p15:clr>
        </p15:guide>
        <p15:guide id="6" orient="horz" pos="660">
          <p15:clr>
            <a:srgbClr val="F26B43"/>
          </p15:clr>
        </p15:guide>
        <p15:guide id="7" pos="664">
          <p15:clr>
            <a:srgbClr val="F26B43"/>
          </p15:clr>
        </p15:guide>
        <p15:guide id="8" pos="12001">
          <p15:clr>
            <a:srgbClr val="F26B43"/>
          </p15:clr>
        </p15:guide>
        <p15:guide id="9" orient="horz" pos="6285">
          <p15:clr>
            <a:srgbClr val="F26B43"/>
          </p15:clr>
        </p15:guide>
        <p15:guide id="10" orient="horz" pos="1635">
          <p15:clr>
            <a:srgbClr val="F26B43"/>
          </p15:clr>
        </p15:guide>
        <p15:guide id="11" orient="horz" pos="197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D012096B-56FB-EF94-8C25-DB79AB79D06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25" b="25"/>
          <a:stretch/>
        </p:blipFill>
        <p:spPr>
          <a:xfrm>
            <a:off x="802" y="0"/>
            <a:ext cx="12190396" cy="6858000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F588825-6A41-E11B-8978-E328C2DCE569}"/>
              </a:ext>
            </a:extLst>
          </p:cNvPr>
          <p:cNvSpPr txBox="1"/>
          <p:nvPr/>
        </p:nvSpPr>
        <p:spPr>
          <a:xfrm>
            <a:off x="2019943" y="2388963"/>
            <a:ext cx="8152114" cy="652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13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3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Unlock the Cloud Operating Model</a:t>
            </a:r>
            <a:endParaRPr kumimoji="0" lang="en-US" sz="3638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179B9D-69AF-C05F-E364-44D230DCB1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4244" y="-134557"/>
            <a:ext cx="2552700" cy="25527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52D712-B02B-CB80-B96F-6673518B9D3D}"/>
              </a:ext>
            </a:extLst>
          </p:cNvPr>
          <p:cNvSpPr txBox="1">
            <a:spLocks/>
          </p:cNvSpPr>
          <p:nvPr/>
        </p:nvSpPr>
        <p:spPr>
          <a:xfrm>
            <a:off x="405924" y="3276921"/>
            <a:ext cx="2628824" cy="525886"/>
          </a:xfrm>
          <a:prstGeom prst="rect">
            <a:avLst/>
          </a:prstGeom>
          <a:solidFill>
            <a:schemeClr val="accent6">
              <a:lumMod val="10000"/>
              <a:alpha val="79827"/>
            </a:schemeClr>
          </a:solidFill>
        </p:spPr>
        <p:txBody>
          <a:bodyPr vert="horz" wrap="square" lIns="0" tIns="216000" rIns="0" bIns="0" rtlCol="0">
            <a:spAutoFit/>
          </a:bodyPr>
          <a:lstStyle>
            <a:lvl1pPr marL="0" indent="0" algn="l" defTabSz="863375" rtl="0" eaLnBrk="1" latinLnBrk="0" hangingPunct="1">
              <a:lnSpc>
                <a:spcPts val="1970"/>
              </a:lnSpc>
              <a:spcBef>
                <a:spcPts val="944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Segoe UI" panose="020B0502040204020203" pitchFamily="34" charset="0"/>
              </a:defRPr>
            </a:lvl1pPr>
            <a:lvl2pPr marL="431687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2pPr>
            <a:lvl3pPr marL="863375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3pPr>
            <a:lvl4pPr marL="1295064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4pPr>
            <a:lvl5pPr marL="1726751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5pPr>
            <a:lvl6pPr marL="2374284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972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7661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9349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33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UI" panose="020B0502040204020203" pitchFamily="34" charset="0"/>
                <a:sym typeface="Arial"/>
              </a:rPr>
              <a:t>INFRASTRUCTURE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6DFDC86-9D6B-F320-5819-8316AD41FCE9}"/>
              </a:ext>
            </a:extLst>
          </p:cNvPr>
          <p:cNvSpPr txBox="1">
            <a:spLocks/>
          </p:cNvSpPr>
          <p:nvPr/>
        </p:nvSpPr>
        <p:spPr>
          <a:xfrm>
            <a:off x="3439861" y="3276920"/>
            <a:ext cx="1806660" cy="525886"/>
          </a:xfrm>
          <a:prstGeom prst="rect">
            <a:avLst/>
          </a:prstGeom>
          <a:solidFill>
            <a:schemeClr val="accent6">
              <a:lumMod val="10000"/>
              <a:alpha val="79827"/>
            </a:schemeClr>
          </a:solidFill>
        </p:spPr>
        <p:txBody>
          <a:bodyPr vert="horz" wrap="square" lIns="0" tIns="216000" rIns="0" bIns="0" rtlCol="0">
            <a:spAutoFit/>
          </a:bodyPr>
          <a:lstStyle>
            <a:lvl1pPr marL="0" indent="0" algn="l" defTabSz="863375" rtl="0" eaLnBrk="1" latinLnBrk="0" hangingPunct="1">
              <a:lnSpc>
                <a:spcPts val="1970"/>
              </a:lnSpc>
              <a:spcBef>
                <a:spcPts val="944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Segoe UI" panose="020B0502040204020203" pitchFamily="34" charset="0"/>
              </a:defRPr>
            </a:lvl1pPr>
            <a:lvl2pPr marL="431687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2pPr>
            <a:lvl3pPr marL="863375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3pPr>
            <a:lvl4pPr marL="1295064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4pPr>
            <a:lvl5pPr marL="1726751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5pPr>
            <a:lvl6pPr marL="2374284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972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7661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9349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33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UI" panose="020B0502040204020203" pitchFamily="34" charset="0"/>
                <a:sym typeface="Arial"/>
              </a:rPr>
              <a:t>NETWORKING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11B7FC4-4FE6-1CEA-D08D-FDCD541534CD}"/>
              </a:ext>
            </a:extLst>
          </p:cNvPr>
          <p:cNvSpPr txBox="1">
            <a:spLocks/>
          </p:cNvSpPr>
          <p:nvPr/>
        </p:nvSpPr>
        <p:spPr>
          <a:xfrm>
            <a:off x="5479976" y="3276919"/>
            <a:ext cx="2363252" cy="525886"/>
          </a:xfrm>
          <a:prstGeom prst="rect">
            <a:avLst/>
          </a:prstGeom>
          <a:solidFill>
            <a:schemeClr val="accent6">
              <a:lumMod val="10000"/>
              <a:alpha val="79827"/>
            </a:schemeClr>
          </a:solidFill>
        </p:spPr>
        <p:txBody>
          <a:bodyPr vert="horz" wrap="square" lIns="0" tIns="216000" rIns="0" bIns="0" rtlCol="0">
            <a:spAutoFit/>
          </a:bodyPr>
          <a:lstStyle>
            <a:lvl1pPr marL="0" indent="0" algn="l" defTabSz="863375" rtl="0" eaLnBrk="1" latinLnBrk="0" hangingPunct="1">
              <a:lnSpc>
                <a:spcPts val="1970"/>
              </a:lnSpc>
              <a:spcBef>
                <a:spcPts val="944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Segoe UI" panose="020B0502040204020203" pitchFamily="34" charset="0"/>
              </a:defRPr>
            </a:lvl1pPr>
            <a:lvl2pPr marL="431687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2pPr>
            <a:lvl3pPr marL="863375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3pPr>
            <a:lvl4pPr marL="1295064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4pPr>
            <a:lvl5pPr marL="1726751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5pPr>
            <a:lvl6pPr marL="2374284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972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7661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9349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33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UI" panose="020B0502040204020203" pitchFamily="34" charset="0"/>
                <a:sym typeface="Arial"/>
              </a:rPr>
              <a:t>SECURITY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8CE3483-F864-30A8-D5D1-269CFBEE9191}"/>
              </a:ext>
            </a:extLst>
          </p:cNvPr>
          <p:cNvSpPr txBox="1">
            <a:spLocks/>
          </p:cNvSpPr>
          <p:nvPr/>
        </p:nvSpPr>
        <p:spPr>
          <a:xfrm>
            <a:off x="8299702" y="3276919"/>
            <a:ext cx="3486374" cy="525886"/>
          </a:xfrm>
          <a:prstGeom prst="rect">
            <a:avLst/>
          </a:prstGeom>
          <a:solidFill>
            <a:schemeClr val="accent6">
              <a:lumMod val="10000"/>
              <a:alpha val="79827"/>
            </a:schemeClr>
          </a:solidFill>
        </p:spPr>
        <p:txBody>
          <a:bodyPr vert="horz" wrap="square" lIns="0" tIns="216000" rIns="0" bIns="0" rtlCol="0">
            <a:spAutoFit/>
          </a:bodyPr>
          <a:lstStyle>
            <a:lvl1pPr marL="0" indent="0" algn="l" defTabSz="863375" rtl="0" eaLnBrk="1" latinLnBrk="0" hangingPunct="1">
              <a:lnSpc>
                <a:spcPts val="1970"/>
              </a:lnSpc>
              <a:spcBef>
                <a:spcPts val="944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Segoe UI" panose="020B0502040204020203" pitchFamily="34" charset="0"/>
              </a:defRPr>
            </a:lvl1pPr>
            <a:lvl2pPr marL="431687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2pPr>
            <a:lvl3pPr marL="863375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3pPr>
            <a:lvl4pPr marL="1295064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4pPr>
            <a:lvl5pPr marL="1726751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5pPr>
            <a:lvl6pPr marL="2374284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972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7661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9349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33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UI" panose="020B0502040204020203" pitchFamily="34" charset="0"/>
                <a:sym typeface="Arial"/>
              </a:rPr>
              <a:t>APPLICATION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9D97DE-1F2E-568A-C217-04DC1FF4359D}"/>
              </a:ext>
            </a:extLst>
          </p:cNvPr>
          <p:cNvSpPr/>
          <p:nvPr/>
        </p:nvSpPr>
        <p:spPr>
          <a:xfrm>
            <a:off x="387626" y="3925916"/>
            <a:ext cx="2647122" cy="58865"/>
          </a:xfrm>
          <a:prstGeom prst="rect">
            <a:avLst/>
          </a:prstGeom>
          <a:gradFill>
            <a:gsLst>
              <a:gs pos="0">
                <a:srgbClr val="00B0F0"/>
              </a:gs>
              <a:gs pos="100000">
                <a:srgbClr val="7030A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B6ECB04-3313-7526-F6B0-EFBAB28A2BDF}"/>
              </a:ext>
            </a:extLst>
          </p:cNvPr>
          <p:cNvSpPr/>
          <p:nvPr/>
        </p:nvSpPr>
        <p:spPr>
          <a:xfrm>
            <a:off x="3439862" y="3926686"/>
            <a:ext cx="1641599" cy="57600"/>
          </a:xfrm>
          <a:prstGeom prst="rect">
            <a:avLst/>
          </a:prstGeom>
          <a:gradFill>
            <a:gsLst>
              <a:gs pos="0">
                <a:srgbClr val="941651"/>
              </a:gs>
              <a:gs pos="100000">
                <a:srgbClr val="FF2F9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A070C4-4187-E702-8603-13CE547A1B1F}"/>
              </a:ext>
            </a:extLst>
          </p:cNvPr>
          <p:cNvSpPr/>
          <p:nvPr/>
        </p:nvSpPr>
        <p:spPr>
          <a:xfrm>
            <a:off x="5479976" y="3929905"/>
            <a:ext cx="2363252" cy="58865"/>
          </a:xfrm>
          <a:prstGeom prst="rect">
            <a:avLst/>
          </a:prstGeom>
          <a:gradFill>
            <a:gsLst>
              <a:gs pos="0">
                <a:srgbClr val="B30907"/>
              </a:gs>
              <a:gs pos="100000">
                <a:srgbClr val="E2AA0D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93CDF1-3695-293D-901F-7740D1EAB9E5}"/>
              </a:ext>
            </a:extLst>
          </p:cNvPr>
          <p:cNvSpPr/>
          <p:nvPr/>
        </p:nvSpPr>
        <p:spPr>
          <a:xfrm>
            <a:off x="8279975" y="3928655"/>
            <a:ext cx="3524399" cy="57600"/>
          </a:xfrm>
          <a:prstGeom prst="rect">
            <a:avLst/>
          </a:prstGeom>
          <a:gradFill>
            <a:gsLst>
              <a:gs pos="55000">
                <a:srgbClr val="00C1B1"/>
              </a:gs>
              <a:gs pos="0">
                <a:srgbClr val="00BF6F"/>
              </a:gs>
              <a:gs pos="99000">
                <a:srgbClr val="0315E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  <a:sym typeface="Arial"/>
            </a:endParaRPr>
          </a:p>
        </p:txBody>
      </p:sp>
      <p:pic>
        <p:nvPicPr>
          <p:cNvPr id="15" name="Picture 2" descr="Packer by HashiCorp">
            <a:extLst>
              <a:ext uri="{FF2B5EF4-FFF2-40B4-BE49-F238E27FC236}">
                <a16:creationId xmlns:a16="http://schemas.microsoft.com/office/drawing/2014/main" id="{4CE7DDF3-A00D-AECA-4D23-051846BCBB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626" y="4115570"/>
            <a:ext cx="927652" cy="92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HashiCorp Terraform logo (blog-adjusted aspect ratio ...">
            <a:extLst>
              <a:ext uri="{FF2B5EF4-FFF2-40B4-BE49-F238E27FC236}">
                <a16:creationId xmlns:a16="http://schemas.microsoft.com/office/drawing/2014/main" id="{AA5441B6-C683-7A64-336B-9A1652B036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2041" y="4115569"/>
            <a:ext cx="1236439" cy="927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ashicorp consul icon - Raivo Otp Issuer Icons | Free icons">
            <a:extLst>
              <a:ext uri="{FF2B5EF4-FFF2-40B4-BE49-F238E27FC236}">
                <a16:creationId xmlns:a16="http://schemas.microsoft.com/office/drawing/2014/main" id="{4F5280D9-2677-EB1B-1FC6-516EBF9373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6852" y="4195620"/>
            <a:ext cx="767548" cy="767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0C7CF7B-2A41-1A57-73FA-A6DBADA064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10470" y="4134184"/>
            <a:ext cx="767548" cy="863296"/>
          </a:xfrm>
          <a:prstGeom prst="rect">
            <a:avLst/>
          </a:prstGeom>
        </p:spPr>
      </p:pic>
      <p:pic>
        <p:nvPicPr>
          <p:cNvPr id="19" name="Picture 8" descr="Vault HashiCorp | SUE Cloud &amp; IT | Download Price List Now">
            <a:extLst>
              <a:ext uri="{FF2B5EF4-FFF2-40B4-BE49-F238E27FC236}">
                <a16:creationId xmlns:a16="http://schemas.microsoft.com/office/drawing/2014/main" id="{084E4A11-8CC0-3B74-B10C-6D489F001A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3305" y="4152498"/>
            <a:ext cx="815009" cy="815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field-workshops-nomad/docs/slides/multi-cloud/advanced-nomad ...">
            <a:extLst>
              <a:ext uri="{FF2B5EF4-FFF2-40B4-BE49-F238E27FC236}">
                <a16:creationId xmlns:a16="http://schemas.microsoft.com/office/drawing/2014/main" id="{424AE6B3-7F06-8043-4502-0B6B652F3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9792" y="4140391"/>
            <a:ext cx="695393" cy="857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Latest Waypoint topics - HashiCorp Discuss">
            <a:extLst>
              <a:ext uri="{FF2B5EF4-FFF2-40B4-BE49-F238E27FC236}">
                <a16:creationId xmlns:a16="http://schemas.microsoft.com/office/drawing/2014/main" id="{E691DAFB-8D97-6DDA-37FD-BFA01EF19D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0552" y="4069828"/>
            <a:ext cx="925934" cy="92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C58ABDD-798B-EF00-D5D9-7DB49757ACC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89365" y="4182471"/>
            <a:ext cx="815009" cy="81500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A91BE4F-9A03-0E0C-7C49-54E17CA1B087}"/>
              </a:ext>
            </a:extLst>
          </p:cNvPr>
          <p:cNvSpPr txBox="1"/>
          <p:nvPr/>
        </p:nvSpPr>
        <p:spPr>
          <a:xfrm>
            <a:off x="468674" y="4993789"/>
            <a:ext cx="76555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ack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05A5FE7-4259-ED2A-F426-76701F666C2C}"/>
              </a:ext>
            </a:extLst>
          </p:cNvPr>
          <p:cNvSpPr txBox="1"/>
          <p:nvPr/>
        </p:nvSpPr>
        <p:spPr>
          <a:xfrm>
            <a:off x="1711187" y="4993789"/>
            <a:ext cx="9624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rrafor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0264257-97B8-4D93-75D6-D751A9BB33E4}"/>
              </a:ext>
            </a:extLst>
          </p:cNvPr>
          <p:cNvSpPr txBox="1"/>
          <p:nvPr/>
        </p:nvSpPr>
        <p:spPr>
          <a:xfrm>
            <a:off x="3587762" y="4993789"/>
            <a:ext cx="76754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su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B684172-E1D8-15D9-7853-99B99C4D1FDD}"/>
              </a:ext>
            </a:extLst>
          </p:cNvPr>
          <p:cNvSpPr txBox="1"/>
          <p:nvPr/>
        </p:nvSpPr>
        <p:spPr>
          <a:xfrm>
            <a:off x="5525752" y="4993789"/>
            <a:ext cx="9563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oundar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C9A77B4-A356-B7C3-7794-C7B6DA5B51B0}"/>
              </a:ext>
            </a:extLst>
          </p:cNvPr>
          <p:cNvSpPr txBox="1"/>
          <p:nvPr/>
        </p:nvSpPr>
        <p:spPr>
          <a:xfrm>
            <a:off x="7043306" y="4993788"/>
            <a:ext cx="68086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ul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EA20907-0FED-7F4D-0E70-57AE7F72A6CE}"/>
              </a:ext>
            </a:extLst>
          </p:cNvPr>
          <p:cNvSpPr txBox="1"/>
          <p:nvPr/>
        </p:nvSpPr>
        <p:spPr>
          <a:xfrm>
            <a:off x="8299983" y="4993788"/>
            <a:ext cx="8150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oma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3E3925A-3691-FB3D-53F4-5ABDE2D00E57}"/>
              </a:ext>
            </a:extLst>
          </p:cNvPr>
          <p:cNvSpPr txBox="1"/>
          <p:nvPr/>
        </p:nvSpPr>
        <p:spPr>
          <a:xfrm>
            <a:off x="9597871" y="4993787"/>
            <a:ext cx="9408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aypoi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597C67D-6D7C-58CA-2BAB-89F39B40D85C}"/>
              </a:ext>
            </a:extLst>
          </p:cNvPr>
          <p:cNvSpPr txBox="1"/>
          <p:nvPr/>
        </p:nvSpPr>
        <p:spPr>
          <a:xfrm>
            <a:off x="10989365" y="4988511"/>
            <a:ext cx="8150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grant</a:t>
            </a:r>
          </a:p>
        </p:txBody>
      </p:sp>
      <p:pic>
        <p:nvPicPr>
          <p:cNvPr id="1026" name="Picture 2" descr="GitHub - star3am/terraform-hashicorp-hashiqube: Terraform ...">
            <a:extLst>
              <a:ext uri="{FF2B5EF4-FFF2-40B4-BE49-F238E27FC236}">
                <a16:creationId xmlns:a16="http://schemas.microsoft.com/office/drawing/2014/main" id="{7FA0285B-5D39-681F-E959-40E59FED5F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1562" y="-112445"/>
            <a:ext cx="3625890" cy="1855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8E884CC-04A2-29AF-0343-8975AEA53CBD}"/>
              </a:ext>
            </a:extLst>
          </p:cNvPr>
          <p:cNvSpPr txBox="1"/>
          <p:nvPr/>
        </p:nvSpPr>
        <p:spPr>
          <a:xfrm>
            <a:off x="3022048" y="1606008"/>
            <a:ext cx="2816268" cy="652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13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3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cs typeface="ADLaM Display" panose="020F0502020204030204" pitchFamily="34" charset="0"/>
                <a:sym typeface="Arial"/>
              </a:rPr>
              <a:t>HashiQube</a:t>
            </a:r>
            <a:endParaRPr kumimoji="0" lang="en-US" sz="3638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DLaM Display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55219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D012096B-56FB-EF94-8C25-DB79AB79D06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25" b="25"/>
          <a:stretch/>
        </p:blipFill>
        <p:spPr>
          <a:xfrm>
            <a:off x="802" y="0"/>
            <a:ext cx="12190396" cy="6858000"/>
          </a:xfr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C179B9D-69AF-C05F-E364-44D230DCB1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4244" y="-134557"/>
            <a:ext cx="2552700" cy="25527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52D712-B02B-CB80-B96F-6673518B9D3D}"/>
              </a:ext>
            </a:extLst>
          </p:cNvPr>
          <p:cNvSpPr txBox="1">
            <a:spLocks/>
          </p:cNvSpPr>
          <p:nvPr/>
        </p:nvSpPr>
        <p:spPr>
          <a:xfrm>
            <a:off x="405924" y="3276921"/>
            <a:ext cx="2628824" cy="525886"/>
          </a:xfrm>
          <a:prstGeom prst="rect">
            <a:avLst/>
          </a:prstGeom>
          <a:solidFill>
            <a:schemeClr val="accent6">
              <a:lumMod val="10000"/>
              <a:alpha val="79827"/>
            </a:schemeClr>
          </a:solidFill>
        </p:spPr>
        <p:txBody>
          <a:bodyPr vert="horz" wrap="square" lIns="0" tIns="216000" rIns="0" bIns="0" rtlCol="0">
            <a:spAutoFit/>
          </a:bodyPr>
          <a:lstStyle>
            <a:lvl1pPr marL="0" indent="0" algn="l" defTabSz="863375" rtl="0" eaLnBrk="1" latinLnBrk="0" hangingPunct="1">
              <a:lnSpc>
                <a:spcPts val="1970"/>
              </a:lnSpc>
              <a:spcBef>
                <a:spcPts val="944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Segoe UI" panose="020B0502040204020203" pitchFamily="34" charset="0"/>
              </a:defRPr>
            </a:lvl1pPr>
            <a:lvl2pPr marL="431687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2pPr>
            <a:lvl3pPr marL="863375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3pPr>
            <a:lvl4pPr marL="1295064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4pPr>
            <a:lvl5pPr marL="1726751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5pPr>
            <a:lvl6pPr marL="2374284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972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7661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9349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33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UI" panose="020B0502040204020203" pitchFamily="34" charset="0"/>
                <a:sym typeface="Arial"/>
              </a:rPr>
              <a:t>INFRASTRUCTURE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6DFDC86-9D6B-F320-5819-8316AD41FCE9}"/>
              </a:ext>
            </a:extLst>
          </p:cNvPr>
          <p:cNvSpPr txBox="1">
            <a:spLocks/>
          </p:cNvSpPr>
          <p:nvPr/>
        </p:nvSpPr>
        <p:spPr>
          <a:xfrm>
            <a:off x="3439861" y="3276920"/>
            <a:ext cx="1806660" cy="525886"/>
          </a:xfrm>
          <a:prstGeom prst="rect">
            <a:avLst/>
          </a:prstGeom>
          <a:solidFill>
            <a:schemeClr val="accent6">
              <a:lumMod val="10000"/>
              <a:alpha val="79827"/>
            </a:schemeClr>
          </a:solidFill>
        </p:spPr>
        <p:txBody>
          <a:bodyPr vert="horz" wrap="square" lIns="0" tIns="216000" rIns="0" bIns="0" rtlCol="0">
            <a:spAutoFit/>
          </a:bodyPr>
          <a:lstStyle>
            <a:lvl1pPr marL="0" indent="0" algn="l" defTabSz="863375" rtl="0" eaLnBrk="1" latinLnBrk="0" hangingPunct="1">
              <a:lnSpc>
                <a:spcPts val="1970"/>
              </a:lnSpc>
              <a:spcBef>
                <a:spcPts val="944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Segoe UI" panose="020B0502040204020203" pitchFamily="34" charset="0"/>
              </a:defRPr>
            </a:lvl1pPr>
            <a:lvl2pPr marL="431687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2pPr>
            <a:lvl3pPr marL="863375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3pPr>
            <a:lvl4pPr marL="1295064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4pPr>
            <a:lvl5pPr marL="1726751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5pPr>
            <a:lvl6pPr marL="2374284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972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7661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9349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33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UI" panose="020B0502040204020203" pitchFamily="34" charset="0"/>
                <a:sym typeface="Arial"/>
              </a:rPr>
              <a:t>NETWORKING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11B7FC4-4FE6-1CEA-D08D-FDCD541534CD}"/>
              </a:ext>
            </a:extLst>
          </p:cNvPr>
          <p:cNvSpPr txBox="1">
            <a:spLocks/>
          </p:cNvSpPr>
          <p:nvPr/>
        </p:nvSpPr>
        <p:spPr>
          <a:xfrm>
            <a:off x="5479976" y="3276919"/>
            <a:ext cx="2363252" cy="525886"/>
          </a:xfrm>
          <a:prstGeom prst="rect">
            <a:avLst/>
          </a:prstGeom>
          <a:solidFill>
            <a:schemeClr val="accent6">
              <a:lumMod val="10000"/>
              <a:alpha val="79827"/>
            </a:schemeClr>
          </a:solidFill>
        </p:spPr>
        <p:txBody>
          <a:bodyPr vert="horz" wrap="square" lIns="0" tIns="216000" rIns="0" bIns="0" rtlCol="0">
            <a:spAutoFit/>
          </a:bodyPr>
          <a:lstStyle>
            <a:lvl1pPr marL="0" indent="0" algn="l" defTabSz="863375" rtl="0" eaLnBrk="1" latinLnBrk="0" hangingPunct="1">
              <a:lnSpc>
                <a:spcPts val="1970"/>
              </a:lnSpc>
              <a:spcBef>
                <a:spcPts val="944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Segoe UI" panose="020B0502040204020203" pitchFamily="34" charset="0"/>
              </a:defRPr>
            </a:lvl1pPr>
            <a:lvl2pPr marL="431687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2pPr>
            <a:lvl3pPr marL="863375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3pPr>
            <a:lvl4pPr marL="1295064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4pPr>
            <a:lvl5pPr marL="1726751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5pPr>
            <a:lvl6pPr marL="2374284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972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7661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9349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33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UI" panose="020B0502040204020203" pitchFamily="34" charset="0"/>
                <a:sym typeface="Arial"/>
              </a:rPr>
              <a:t>SECURITY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8CE3483-F864-30A8-D5D1-269CFBEE9191}"/>
              </a:ext>
            </a:extLst>
          </p:cNvPr>
          <p:cNvSpPr txBox="1">
            <a:spLocks/>
          </p:cNvSpPr>
          <p:nvPr/>
        </p:nvSpPr>
        <p:spPr>
          <a:xfrm>
            <a:off x="8299702" y="3276919"/>
            <a:ext cx="3486374" cy="525886"/>
          </a:xfrm>
          <a:prstGeom prst="rect">
            <a:avLst/>
          </a:prstGeom>
          <a:solidFill>
            <a:schemeClr val="accent6">
              <a:lumMod val="10000"/>
              <a:alpha val="79827"/>
            </a:schemeClr>
          </a:solidFill>
        </p:spPr>
        <p:txBody>
          <a:bodyPr vert="horz" wrap="square" lIns="0" tIns="216000" rIns="0" bIns="0" rtlCol="0">
            <a:spAutoFit/>
          </a:bodyPr>
          <a:lstStyle>
            <a:lvl1pPr marL="0" indent="0" algn="l" defTabSz="863375" rtl="0" eaLnBrk="1" latinLnBrk="0" hangingPunct="1">
              <a:lnSpc>
                <a:spcPts val="1970"/>
              </a:lnSpc>
              <a:spcBef>
                <a:spcPts val="944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Segoe UI" panose="020B0502040204020203" pitchFamily="34" charset="0"/>
              </a:defRPr>
            </a:lvl1pPr>
            <a:lvl2pPr marL="431687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2pPr>
            <a:lvl3pPr marL="863375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3pPr>
            <a:lvl4pPr marL="1295064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4pPr>
            <a:lvl5pPr marL="1726751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5pPr>
            <a:lvl6pPr marL="2374284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972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7661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9349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633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UI" panose="020B0502040204020203" pitchFamily="34" charset="0"/>
                <a:sym typeface="Arial"/>
              </a:rPr>
              <a:t>APPLICATION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9D97DE-1F2E-568A-C217-04DC1FF4359D}"/>
              </a:ext>
            </a:extLst>
          </p:cNvPr>
          <p:cNvSpPr/>
          <p:nvPr/>
        </p:nvSpPr>
        <p:spPr>
          <a:xfrm>
            <a:off x="387626" y="3925916"/>
            <a:ext cx="2647122" cy="58865"/>
          </a:xfrm>
          <a:prstGeom prst="rect">
            <a:avLst/>
          </a:prstGeom>
          <a:gradFill>
            <a:gsLst>
              <a:gs pos="0">
                <a:srgbClr val="00B0F0"/>
              </a:gs>
              <a:gs pos="100000">
                <a:srgbClr val="7030A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B6ECB04-3313-7526-F6B0-EFBAB28A2BDF}"/>
              </a:ext>
            </a:extLst>
          </p:cNvPr>
          <p:cNvSpPr/>
          <p:nvPr/>
        </p:nvSpPr>
        <p:spPr>
          <a:xfrm>
            <a:off x="3439862" y="3926686"/>
            <a:ext cx="1641599" cy="57600"/>
          </a:xfrm>
          <a:prstGeom prst="rect">
            <a:avLst/>
          </a:prstGeom>
          <a:gradFill>
            <a:gsLst>
              <a:gs pos="0">
                <a:srgbClr val="941651"/>
              </a:gs>
              <a:gs pos="100000">
                <a:srgbClr val="FF2F9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A070C4-4187-E702-8603-13CE547A1B1F}"/>
              </a:ext>
            </a:extLst>
          </p:cNvPr>
          <p:cNvSpPr/>
          <p:nvPr/>
        </p:nvSpPr>
        <p:spPr>
          <a:xfrm>
            <a:off x="5479976" y="3929905"/>
            <a:ext cx="2363252" cy="58865"/>
          </a:xfrm>
          <a:prstGeom prst="rect">
            <a:avLst/>
          </a:prstGeom>
          <a:gradFill>
            <a:gsLst>
              <a:gs pos="0">
                <a:srgbClr val="B30907"/>
              </a:gs>
              <a:gs pos="100000">
                <a:srgbClr val="E2AA0D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93CDF1-3695-293D-901F-7740D1EAB9E5}"/>
              </a:ext>
            </a:extLst>
          </p:cNvPr>
          <p:cNvSpPr/>
          <p:nvPr/>
        </p:nvSpPr>
        <p:spPr>
          <a:xfrm>
            <a:off x="8279975" y="3928655"/>
            <a:ext cx="3524399" cy="57600"/>
          </a:xfrm>
          <a:prstGeom prst="rect">
            <a:avLst/>
          </a:prstGeom>
          <a:gradFill>
            <a:gsLst>
              <a:gs pos="55000">
                <a:srgbClr val="00C1B1"/>
              </a:gs>
              <a:gs pos="0">
                <a:srgbClr val="00BF6F"/>
              </a:gs>
              <a:gs pos="99000">
                <a:srgbClr val="0315E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  <a:sym typeface="Arial"/>
            </a:endParaRPr>
          </a:p>
        </p:txBody>
      </p:sp>
      <p:pic>
        <p:nvPicPr>
          <p:cNvPr id="15" name="Picture 2" descr="Packer by HashiCorp">
            <a:extLst>
              <a:ext uri="{FF2B5EF4-FFF2-40B4-BE49-F238E27FC236}">
                <a16:creationId xmlns:a16="http://schemas.microsoft.com/office/drawing/2014/main" id="{4CE7DDF3-A00D-AECA-4D23-051846BCBB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626" y="4115570"/>
            <a:ext cx="927652" cy="92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HashiCorp Terraform logo (blog-adjusted aspect ratio ...">
            <a:extLst>
              <a:ext uri="{FF2B5EF4-FFF2-40B4-BE49-F238E27FC236}">
                <a16:creationId xmlns:a16="http://schemas.microsoft.com/office/drawing/2014/main" id="{AA5441B6-C683-7A64-336B-9A1652B036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2041" y="4115569"/>
            <a:ext cx="1236439" cy="927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ashicorp consul icon - Raivo Otp Issuer Icons | Free icons">
            <a:extLst>
              <a:ext uri="{FF2B5EF4-FFF2-40B4-BE49-F238E27FC236}">
                <a16:creationId xmlns:a16="http://schemas.microsoft.com/office/drawing/2014/main" id="{4F5280D9-2677-EB1B-1FC6-516EBF9373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6852" y="4195620"/>
            <a:ext cx="767548" cy="767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0C7CF7B-2A41-1A57-73FA-A6DBADA064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10470" y="4134184"/>
            <a:ext cx="767548" cy="863296"/>
          </a:xfrm>
          <a:prstGeom prst="rect">
            <a:avLst/>
          </a:prstGeom>
        </p:spPr>
      </p:pic>
      <p:pic>
        <p:nvPicPr>
          <p:cNvPr id="19" name="Picture 8" descr="Vault HashiCorp | SUE Cloud &amp; IT | Download Price List Now">
            <a:extLst>
              <a:ext uri="{FF2B5EF4-FFF2-40B4-BE49-F238E27FC236}">
                <a16:creationId xmlns:a16="http://schemas.microsoft.com/office/drawing/2014/main" id="{084E4A11-8CC0-3B74-B10C-6D489F001A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3305" y="4152498"/>
            <a:ext cx="815009" cy="815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field-workshops-nomad/docs/slides/multi-cloud/advanced-nomad ...">
            <a:extLst>
              <a:ext uri="{FF2B5EF4-FFF2-40B4-BE49-F238E27FC236}">
                <a16:creationId xmlns:a16="http://schemas.microsoft.com/office/drawing/2014/main" id="{424AE6B3-7F06-8043-4502-0B6B652F3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9792" y="4140391"/>
            <a:ext cx="695393" cy="857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Latest Waypoint topics - HashiCorp Discuss">
            <a:extLst>
              <a:ext uri="{FF2B5EF4-FFF2-40B4-BE49-F238E27FC236}">
                <a16:creationId xmlns:a16="http://schemas.microsoft.com/office/drawing/2014/main" id="{E691DAFB-8D97-6DDA-37FD-BFA01EF19D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0552" y="4069828"/>
            <a:ext cx="925934" cy="92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C58ABDD-798B-EF00-D5D9-7DB49757ACC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89365" y="4182471"/>
            <a:ext cx="815009" cy="81500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A91BE4F-9A03-0E0C-7C49-54E17CA1B087}"/>
              </a:ext>
            </a:extLst>
          </p:cNvPr>
          <p:cNvSpPr txBox="1"/>
          <p:nvPr/>
        </p:nvSpPr>
        <p:spPr>
          <a:xfrm>
            <a:off x="468674" y="4993789"/>
            <a:ext cx="76555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ack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05A5FE7-4259-ED2A-F426-76701F666C2C}"/>
              </a:ext>
            </a:extLst>
          </p:cNvPr>
          <p:cNvSpPr txBox="1"/>
          <p:nvPr/>
        </p:nvSpPr>
        <p:spPr>
          <a:xfrm>
            <a:off x="1711187" y="4993789"/>
            <a:ext cx="9624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rrafor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0264257-97B8-4D93-75D6-D751A9BB33E4}"/>
              </a:ext>
            </a:extLst>
          </p:cNvPr>
          <p:cNvSpPr txBox="1"/>
          <p:nvPr/>
        </p:nvSpPr>
        <p:spPr>
          <a:xfrm>
            <a:off x="3587762" y="4993789"/>
            <a:ext cx="76754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su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B684172-E1D8-15D9-7853-99B99C4D1FDD}"/>
              </a:ext>
            </a:extLst>
          </p:cNvPr>
          <p:cNvSpPr txBox="1"/>
          <p:nvPr/>
        </p:nvSpPr>
        <p:spPr>
          <a:xfrm>
            <a:off x="5525752" y="4993789"/>
            <a:ext cx="9563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oundar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C9A77B4-A356-B7C3-7794-C7B6DA5B51B0}"/>
              </a:ext>
            </a:extLst>
          </p:cNvPr>
          <p:cNvSpPr txBox="1"/>
          <p:nvPr/>
        </p:nvSpPr>
        <p:spPr>
          <a:xfrm>
            <a:off x="7043306" y="4993788"/>
            <a:ext cx="68086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ul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EA20907-0FED-7F4D-0E70-57AE7F72A6CE}"/>
              </a:ext>
            </a:extLst>
          </p:cNvPr>
          <p:cNvSpPr txBox="1"/>
          <p:nvPr/>
        </p:nvSpPr>
        <p:spPr>
          <a:xfrm>
            <a:off x="8299983" y="4993788"/>
            <a:ext cx="8150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oma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3E3925A-3691-FB3D-53F4-5ABDE2D00E57}"/>
              </a:ext>
            </a:extLst>
          </p:cNvPr>
          <p:cNvSpPr txBox="1"/>
          <p:nvPr/>
        </p:nvSpPr>
        <p:spPr>
          <a:xfrm>
            <a:off x="9597871" y="4993787"/>
            <a:ext cx="9408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aypoi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597C67D-6D7C-58CA-2BAB-89F39B40D85C}"/>
              </a:ext>
            </a:extLst>
          </p:cNvPr>
          <p:cNvSpPr txBox="1"/>
          <p:nvPr/>
        </p:nvSpPr>
        <p:spPr>
          <a:xfrm>
            <a:off x="10989365" y="4988511"/>
            <a:ext cx="8150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grant</a:t>
            </a:r>
          </a:p>
        </p:txBody>
      </p:sp>
      <p:pic>
        <p:nvPicPr>
          <p:cNvPr id="1026" name="Picture 2" descr="GitHub - star3am/terraform-hashicorp-hashiqube: Terraform ...">
            <a:extLst>
              <a:ext uri="{FF2B5EF4-FFF2-40B4-BE49-F238E27FC236}">
                <a16:creationId xmlns:a16="http://schemas.microsoft.com/office/drawing/2014/main" id="{7FA0285B-5D39-681F-E959-40E59FED5F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1562" y="-112445"/>
            <a:ext cx="3625890" cy="1855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8E884CC-04A2-29AF-0343-8975AEA53CBD}"/>
              </a:ext>
            </a:extLst>
          </p:cNvPr>
          <p:cNvSpPr txBox="1"/>
          <p:nvPr/>
        </p:nvSpPr>
        <p:spPr>
          <a:xfrm>
            <a:off x="3022048" y="1606008"/>
            <a:ext cx="2816268" cy="652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13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38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cs typeface="ADLaM Display" panose="020F0502020204030204" pitchFamily="34" charset="0"/>
                <a:sym typeface="Arial"/>
              </a:rPr>
              <a:t>HashiQube</a:t>
            </a:r>
            <a:endParaRPr kumimoji="0" lang="en-US" sz="3638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DLaM Display" panose="020F0502020204030204" pitchFamily="34" charset="0"/>
              <a:sym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4A9F050-7ABD-0BCE-7949-E0BB9A15B393}"/>
              </a:ext>
            </a:extLst>
          </p:cNvPr>
          <p:cNvSpPr/>
          <p:nvPr/>
        </p:nvSpPr>
        <p:spPr>
          <a:xfrm>
            <a:off x="210027" y="1606008"/>
            <a:ext cx="1508400" cy="57600"/>
          </a:xfrm>
          <a:prstGeom prst="rect">
            <a:avLst/>
          </a:prstGeom>
          <a:gradFill>
            <a:gsLst>
              <a:gs pos="0">
                <a:srgbClr val="00B0F0"/>
              </a:gs>
              <a:gs pos="42000">
                <a:srgbClr val="FF5249"/>
              </a:gs>
              <a:gs pos="53000">
                <a:srgbClr val="FF7500"/>
              </a:gs>
              <a:gs pos="95000">
                <a:srgbClr val="0315E3"/>
              </a:gs>
              <a:gs pos="83000">
                <a:srgbClr val="00C1B1"/>
              </a:gs>
              <a:gs pos="74000">
                <a:srgbClr val="00BF6F"/>
              </a:gs>
              <a:gs pos="64000">
                <a:srgbClr val="FFC000"/>
              </a:gs>
              <a:gs pos="29000">
                <a:srgbClr val="FF2F92"/>
              </a:gs>
              <a:gs pos="14000">
                <a:srgbClr val="7030A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ambria" panose="02040503050406030204"/>
              <a:ea typeface="+mn-ea"/>
              <a:cs typeface="+mn-cs"/>
              <a:sym typeface="Arial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068F5B17-9C7D-5E49-B30A-F19117C225A3}"/>
              </a:ext>
            </a:extLst>
          </p:cNvPr>
          <p:cNvSpPr txBox="1">
            <a:spLocks/>
          </p:cNvSpPr>
          <p:nvPr/>
        </p:nvSpPr>
        <p:spPr>
          <a:xfrm>
            <a:off x="204472" y="949333"/>
            <a:ext cx="1506715" cy="525886"/>
          </a:xfrm>
          <a:prstGeom prst="rect">
            <a:avLst/>
          </a:prstGeom>
          <a:solidFill>
            <a:schemeClr val="accent6">
              <a:lumMod val="10000"/>
              <a:alpha val="79827"/>
            </a:schemeClr>
          </a:solidFill>
        </p:spPr>
        <p:txBody>
          <a:bodyPr vert="horz" wrap="square" lIns="0" tIns="216000" rIns="0" bIns="0" rtlCol="0">
            <a:spAutoFit/>
          </a:bodyPr>
          <a:lstStyle>
            <a:lvl1pPr marL="0" indent="0" algn="l" defTabSz="863375" rtl="0" eaLnBrk="1" latinLnBrk="0" hangingPunct="1">
              <a:lnSpc>
                <a:spcPts val="1970"/>
              </a:lnSpc>
              <a:spcBef>
                <a:spcPts val="944"/>
              </a:spcBef>
              <a:buFontTx/>
              <a:buNone/>
              <a:defRPr sz="1600" b="0" i="0" kern="1200">
                <a:solidFill>
                  <a:schemeClr val="bg2"/>
                </a:solidFill>
                <a:latin typeface="Century Gothic" panose="020B0502020202020204" pitchFamily="34" charset="0"/>
                <a:ea typeface="+mn-ea"/>
                <a:cs typeface="Segoe UI" panose="020B0502040204020203" pitchFamily="34" charset="0"/>
              </a:defRPr>
            </a:lvl1pPr>
            <a:lvl2pPr marL="431687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2pPr>
            <a:lvl3pPr marL="863375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3pPr>
            <a:lvl4pPr marL="1295064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4pPr>
            <a:lvl5pPr marL="1726751" indent="0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Tx/>
              <a:buNone/>
              <a:defRPr sz="1455" b="0" i="0" kern="1200">
                <a:solidFill>
                  <a:schemeClr val="accent2"/>
                </a:solidFill>
                <a:latin typeface="Segoe Pro" panose="020B0502040504020203" pitchFamily="34" charset="0"/>
                <a:ea typeface="+mn-ea"/>
                <a:cs typeface="Segoe UI" panose="020B0502040204020203" pitchFamily="34" charset="0"/>
              </a:defRPr>
            </a:lvl5pPr>
            <a:lvl6pPr marL="2374284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5972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7661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9349" indent="-215843" algn="l" defTabSz="86337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633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FFFF"/>
              </a:buClr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Segoe UI" panose="020B0502040204020203" pitchFamily="34" charset="0"/>
                <a:sym typeface="Arial"/>
              </a:rPr>
              <a:t>HASHIQUBE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1028" name="Picture 4" descr="HashiQube - A Development Lab Using All the HashiCorp Products and other  Popular Applications such as Docker, Kubernetes, Traefik, Ansible, AWX  Tower and loads more.">
            <a:extLst>
              <a:ext uri="{FF2B5EF4-FFF2-40B4-BE49-F238E27FC236}">
                <a16:creationId xmlns:a16="http://schemas.microsoft.com/office/drawing/2014/main" id="{960F9EEF-14E8-5FD2-A92B-44974EB6ED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31" y="1888474"/>
            <a:ext cx="926484" cy="929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27591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D012096B-56FB-EF94-8C25-DB79AB79D06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25" b="25"/>
          <a:stretch/>
        </p:blipFill>
        <p:spPr>
          <a:xfrm>
            <a:off x="802" y="0"/>
            <a:ext cx="12190396" cy="6858000"/>
          </a:xfrm>
        </p:spPr>
      </p:pic>
    </p:spTree>
    <p:extLst>
      <p:ext uri="{BB962C8B-B14F-4D97-AF65-F5344CB8AC3E}">
        <p14:creationId xmlns:p14="http://schemas.microsoft.com/office/powerpoint/2010/main" val="21124995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3">
      <a:dk1>
        <a:srgbClr val="171717"/>
      </a:dk1>
      <a:lt1>
        <a:srgbClr val="FEFFFF"/>
      </a:lt1>
      <a:dk2>
        <a:srgbClr val="171717"/>
      </a:dk2>
      <a:lt2>
        <a:srgbClr val="FEFFFF"/>
      </a:lt2>
      <a:accent1>
        <a:srgbClr val="00D700"/>
      </a:accent1>
      <a:accent2>
        <a:srgbClr val="BDCDC3"/>
      </a:accent2>
      <a:accent3>
        <a:srgbClr val="BDCDC3"/>
      </a:accent3>
      <a:accent4>
        <a:srgbClr val="C2FF01"/>
      </a:accent4>
      <a:accent5>
        <a:srgbClr val="C2FF01"/>
      </a:accent5>
      <a:accent6>
        <a:srgbClr val="E6E6E6"/>
      </a:accent6>
      <a:hlink>
        <a:srgbClr val="00D700"/>
      </a:hlink>
      <a:folHlink>
        <a:srgbClr val="D5D5D5"/>
      </a:folHlink>
    </a:clrScheme>
    <a:fontScheme name="Cambria">
      <a:majorFont>
        <a:latin typeface="Cambria" panose="02040503050406030204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mbria" panose="02040503050406030204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L100 May 23" id="{70A3C1BA-F003-E34F-93AE-9B722FB8D194}" vid="{7A7200C1-DCFB-2544-BCC2-D3CF4AB7CF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35</Words>
  <Application>Microsoft Macintosh PowerPoint</Application>
  <PresentationFormat>Widescreen</PresentationFormat>
  <Paragraphs>31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Calibri</vt:lpstr>
      <vt:lpstr>Cambria</vt:lpstr>
      <vt:lpstr>Century Gothic</vt:lpstr>
      <vt:lpstr>Century Gothic Pro</vt:lpstr>
      <vt:lpstr>Segoe Pro</vt:lpstr>
      <vt:lpstr>Segoe Pro Light</vt:lpstr>
      <vt:lpstr>Segoe Pro Semibold</vt:lpstr>
      <vt:lpstr>2_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aan Nolan</dc:creator>
  <cp:lastModifiedBy>Riaan Nolan</cp:lastModifiedBy>
  <cp:revision>1</cp:revision>
  <dcterms:created xsi:type="dcterms:W3CDTF">2023-10-05T00:05:33Z</dcterms:created>
  <dcterms:modified xsi:type="dcterms:W3CDTF">2023-10-05T00:08:41Z</dcterms:modified>
</cp:coreProperties>
</file>